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7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9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05" r:id="rId5"/>
    <p:sldMasterId id="2147483690" r:id="rId6"/>
    <p:sldMasterId id="2147483682" r:id="rId7"/>
    <p:sldMasterId id="2147483674" r:id="rId8"/>
    <p:sldMasterId id="2147483698" r:id="rId9"/>
    <p:sldMasterId id="2147483755" r:id="rId10"/>
    <p:sldMasterId id="2147483805" r:id="rId11"/>
    <p:sldMasterId id="2147483831" r:id="rId12"/>
  </p:sldMasterIdLst>
  <p:notesMasterIdLst>
    <p:notesMasterId r:id="rId35"/>
  </p:notesMasterIdLst>
  <p:handoutMasterIdLst>
    <p:handoutMasterId r:id="rId36"/>
  </p:handoutMasterIdLst>
  <p:sldIdLst>
    <p:sldId id="2152" r:id="rId13"/>
    <p:sldId id="2251" r:id="rId14"/>
    <p:sldId id="2249" r:id="rId15"/>
    <p:sldId id="2252" r:id="rId16"/>
    <p:sldId id="2261" r:id="rId17"/>
    <p:sldId id="2262" r:id="rId18"/>
    <p:sldId id="2259" r:id="rId19"/>
    <p:sldId id="2260" r:id="rId20"/>
    <p:sldId id="2263" r:id="rId21"/>
    <p:sldId id="2264" r:id="rId22"/>
    <p:sldId id="2265" r:id="rId23"/>
    <p:sldId id="2253" r:id="rId24"/>
    <p:sldId id="2245" r:id="rId25"/>
    <p:sldId id="2266" r:id="rId26"/>
    <p:sldId id="2267" r:id="rId27"/>
    <p:sldId id="2268" r:id="rId28"/>
    <p:sldId id="2269" r:id="rId29"/>
    <p:sldId id="2270" r:id="rId30"/>
    <p:sldId id="2150" r:id="rId31"/>
    <p:sldId id="2256" r:id="rId32"/>
    <p:sldId id="2235" r:id="rId33"/>
    <p:sldId id="2255" r:id="rId34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CF5726E-51E0-493B-B256-084E8AB8D304}">
          <p14:sldIdLst>
            <p14:sldId id="2152"/>
            <p14:sldId id="2251"/>
            <p14:sldId id="2249"/>
            <p14:sldId id="2252"/>
            <p14:sldId id="2261"/>
            <p14:sldId id="2262"/>
            <p14:sldId id="2259"/>
            <p14:sldId id="2260"/>
            <p14:sldId id="2263"/>
            <p14:sldId id="2264"/>
            <p14:sldId id="2265"/>
            <p14:sldId id="2253"/>
            <p14:sldId id="2245"/>
            <p14:sldId id="2266"/>
            <p14:sldId id="2267"/>
            <p14:sldId id="2268"/>
            <p14:sldId id="2269"/>
            <p14:sldId id="2270"/>
            <p14:sldId id="2150"/>
            <p14:sldId id="2256"/>
            <p14:sldId id="2235"/>
            <p14:sldId id="225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36" userDrawn="1">
          <p15:clr>
            <a:srgbClr val="A4A3A4"/>
          </p15:clr>
        </p15:guide>
        <p15:guide id="2" pos="278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tinez Davila, Luis" initials="MDL" lastIdx="1" clrIdx="0">
    <p:extLst>
      <p:ext uri="{19B8F6BF-5375-455C-9EA6-DF929625EA0E}">
        <p15:presenceInfo xmlns:p15="http://schemas.microsoft.com/office/powerpoint/2012/main" userId="S-1-5-21-3555285318-3598121220-927574299-1085900" providerId="AD"/>
      </p:ext>
    </p:extLst>
  </p:cmAuthor>
  <p:cmAuthor id="2" name="Nareshkumar Chandrahasan Senthilkumar" initials="NCS" lastIdx="14" clrIdx="1">
    <p:extLst>
      <p:ext uri="{19B8F6BF-5375-455C-9EA6-DF929625EA0E}">
        <p15:presenceInfo xmlns:p15="http://schemas.microsoft.com/office/powerpoint/2012/main" userId="S-1-5-21-2393973392-930299080-4041974831-52681" providerId="AD"/>
      </p:ext>
    </p:extLst>
  </p:cmAuthor>
  <p:cmAuthor id="3" name="Shivani Sai Vasavi Surisetty" initials="SSVS" lastIdx="3" clrIdx="2">
    <p:extLst>
      <p:ext uri="{19B8F6BF-5375-455C-9EA6-DF929625EA0E}">
        <p15:presenceInfo xmlns:p15="http://schemas.microsoft.com/office/powerpoint/2012/main" userId="S-1-5-21-2393973392-930299080-4041974831-34479" providerId="AD"/>
      </p:ext>
    </p:extLst>
  </p:cmAuthor>
  <p:cmAuthor id="4" name="Asha Radhakrishnan Nair" initials="ARN" lastIdx="52" clrIdx="3">
    <p:extLst>
      <p:ext uri="{19B8F6BF-5375-455C-9EA6-DF929625EA0E}">
        <p15:presenceInfo xmlns:p15="http://schemas.microsoft.com/office/powerpoint/2012/main" userId="Asha Radhakrishnan Nair" providerId="None"/>
      </p:ext>
    </p:extLst>
  </p:cmAuthor>
  <p:cmAuthor id="5" name="Adithya A" initials="AA" lastIdx="6" clrIdx="4">
    <p:extLst>
      <p:ext uri="{19B8F6BF-5375-455C-9EA6-DF929625EA0E}">
        <p15:presenceInfo xmlns:p15="http://schemas.microsoft.com/office/powerpoint/2012/main" userId="S-1-5-21-2393973392-930299080-4041974831-3557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B7E7"/>
    <a:srgbClr val="00B050"/>
    <a:srgbClr val="FAC2BA"/>
    <a:srgbClr val="F5F5F5"/>
    <a:srgbClr val="A8B400"/>
    <a:srgbClr val="EAAB00"/>
    <a:srgbClr val="99FF66"/>
    <a:srgbClr val="92D050"/>
    <a:srgbClr val="93FB9F"/>
    <a:srgbClr val="66FF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1C05CF-A349-499B-8441-99D7BF2CC9A0}" v="246" dt="2019-11-11T12:36:46.6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69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1194" y="102"/>
      </p:cViewPr>
      <p:guideLst>
        <p:guide orient="horz" pos="636"/>
        <p:guide pos="278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viewProps" Target="viewProps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B335748-B7FA-4667-B200-5D26C0F1858D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71C6E5E8-6CE6-4E59-B57C-E2F11B208E36}">
      <dgm:prSet phldrT="[Text]"/>
      <dgm:spPr/>
      <dgm:t>
        <a:bodyPr/>
        <a:lstStyle/>
        <a:p>
          <a:r>
            <a:rPr lang="en-IN" dirty="0"/>
            <a:t>Isolated the effect of each activation driver using advanced </a:t>
          </a:r>
          <a:r>
            <a:rPr lang="en-IN" b="1" dirty="0"/>
            <a:t>machine learning algorithms</a:t>
          </a:r>
          <a:endParaRPr lang="en-US" b="1" dirty="0"/>
        </a:p>
      </dgm:t>
    </dgm:pt>
    <dgm:pt modelId="{96ADFAAF-E98D-4B47-BB5B-A09F8C24E944}" type="parTrans" cxnId="{B0F83781-85EC-464A-8BCD-1B47F9EA7447}">
      <dgm:prSet/>
      <dgm:spPr/>
      <dgm:t>
        <a:bodyPr/>
        <a:lstStyle/>
        <a:p>
          <a:endParaRPr lang="en-US"/>
        </a:p>
      </dgm:t>
    </dgm:pt>
    <dgm:pt modelId="{55B2D113-D6BB-4A26-A315-9DFD2BFE818F}" type="sibTrans" cxnId="{B0F83781-85EC-464A-8BCD-1B47F9EA7447}">
      <dgm:prSet/>
      <dgm:spPr/>
      <dgm:t>
        <a:bodyPr/>
        <a:lstStyle/>
        <a:p>
          <a:endParaRPr lang="en-US"/>
        </a:p>
      </dgm:t>
    </dgm:pt>
    <dgm:pt modelId="{972B4B7C-4C44-4474-A8DB-879B575F4D36}">
      <dgm:prSet phldrT="[Text]"/>
      <dgm:spPr/>
      <dgm:t>
        <a:bodyPr/>
        <a:lstStyle/>
        <a:p>
          <a:r>
            <a:rPr lang="en-IN" b="1" dirty="0"/>
            <a:t>Quantified impact </a:t>
          </a:r>
          <a:r>
            <a:rPr lang="en-IN" dirty="0"/>
            <a:t>of each activation drivers on sales</a:t>
          </a:r>
          <a:endParaRPr lang="en-US" dirty="0"/>
        </a:p>
      </dgm:t>
    </dgm:pt>
    <dgm:pt modelId="{CEE83B96-5384-4C80-A9ED-F2436CF53279}" type="parTrans" cxnId="{AA85A142-F12D-4F25-9499-B7EEF20D77BF}">
      <dgm:prSet/>
      <dgm:spPr/>
      <dgm:t>
        <a:bodyPr/>
        <a:lstStyle/>
        <a:p>
          <a:endParaRPr lang="en-US"/>
        </a:p>
      </dgm:t>
    </dgm:pt>
    <dgm:pt modelId="{6A5E4AD2-654B-432A-8373-22E58AA39C46}" type="sibTrans" cxnId="{AA85A142-F12D-4F25-9499-B7EEF20D77BF}">
      <dgm:prSet/>
      <dgm:spPr/>
      <dgm:t>
        <a:bodyPr/>
        <a:lstStyle/>
        <a:p>
          <a:endParaRPr lang="en-US"/>
        </a:p>
      </dgm:t>
    </dgm:pt>
    <dgm:pt modelId="{773BC72E-42F9-463B-9EE2-1FDE5EA86E89}">
      <dgm:prSet phldrT="[Text]"/>
      <dgm:spPr/>
      <dgm:t>
        <a:bodyPr anchor="ctr"/>
        <a:lstStyle/>
        <a:p>
          <a:r>
            <a:rPr lang="en-IN" b="1" dirty="0"/>
            <a:t>Recommended  product and store prioritization </a:t>
          </a:r>
          <a:r>
            <a:rPr lang="en-IN" dirty="0"/>
            <a:t>for sampling and in-store execution </a:t>
          </a:r>
          <a:endParaRPr lang="en-US" dirty="0"/>
        </a:p>
      </dgm:t>
    </dgm:pt>
    <dgm:pt modelId="{4138E9C1-4AE5-4AC6-BFDE-4156A13240F7}" type="parTrans" cxnId="{376605A1-A9CE-4458-83F0-5BAB7A3B2109}">
      <dgm:prSet/>
      <dgm:spPr/>
      <dgm:t>
        <a:bodyPr/>
        <a:lstStyle/>
        <a:p>
          <a:endParaRPr lang="en-US"/>
        </a:p>
      </dgm:t>
    </dgm:pt>
    <dgm:pt modelId="{F4608C51-A28F-402E-9293-A3760534F389}" type="sibTrans" cxnId="{376605A1-A9CE-4458-83F0-5BAB7A3B2109}">
      <dgm:prSet/>
      <dgm:spPr/>
      <dgm:t>
        <a:bodyPr/>
        <a:lstStyle/>
        <a:p>
          <a:endParaRPr lang="en-US"/>
        </a:p>
      </dgm:t>
    </dgm:pt>
    <dgm:pt modelId="{DA67A41C-C71C-4AF6-88A6-171B0FF2F787}" type="pres">
      <dgm:prSet presAssocID="{CB335748-B7FA-4667-B200-5D26C0F1858D}" presName="arrowDiagram" presStyleCnt="0">
        <dgm:presLayoutVars>
          <dgm:chMax val="5"/>
          <dgm:dir/>
          <dgm:resizeHandles val="exact"/>
        </dgm:presLayoutVars>
      </dgm:prSet>
      <dgm:spPr/>
    </dgm:pt>
    <dgm:pt modelId="{FDE0ED62-39AF-4A29-8D44-F0520B2CCB1A}" type="pres">
      <dgm:prSet presAssocID="{CB335748-B7FA-4667-B200-5D26C0F1858D}" presName="arrow" presStyleLbl="bgShp" presStyleIdx="0" presStyleCnt="1" custScaleX="100000" custScaleY="87449" custLinFactNeighborX="-11091" custLinFactNeighborY="1607"/>
      <dgm:spPr/>
    </dgm:pt>
    <dgm:pt modelId="{4F247DFF-0A70-4F3C-AAE2-8A5064A2BBF9}" type="pres">
      <dgm:prSet presAssocID="{CB335748-B7FA-4667-B200-5D26C0F1858D}" presName="arrowDiagram3" presStyleCnt="0"/>
      <dgm:spPr/>
    </dgm:pt>
    <dgm:pt modelId="{AE4A6E28-D384-42BB-9493-97F5DEBFB05C}" type="pres">
      <dgm:prSet presAssocID="{71C6E5E8-6CE6-4E59-B57C-E2F11B208E36}" presName="bullet3a" presStyleLbl="node1" presStyleIdx="0" presStyleCnt="3" custFlipVert="1" custFlipHor="1" custScaleX="339227" custScaleY="598906" custLinFactX="-200000" custLinFactNeighborX="-273514" custLinFactNeighborY="43613"/>
      <dgm:spPr>
        <a:noFill/>
        <a:ln>
          <a:noFill/>
        </a:ln>
      </dgm:spPr>
    </dgm:pt>
    <dgm:pt modelId="{7542874A-224B-41A8-910D-A8DC324F3E79}" type="pres">
      <dgm:prSet presAssocID="{71C6E5E8-6CE6-4E59-B57C-E2F11B208E36}" presName="textBox3a" presStyleLbl="revTx" presStyleIdx="0" presStyleCnt="3" custLinFactNeighborX="-16098" custLinFactNeighborY="26430">
        <dgm:presLayoutVars>
          <dgm:bulletEnabled val="1"/>
        </dgm:presLayoutVars>
      </dgm:prSet>
      <dgm:spPr/>
    </dgm:pt>
    <dgm:pt modelId="{827E77E7-56A1-4C3A-9588-0C3DC89AC6F0}" type="pres">
      <dgm:prSet presAssocID="{972B4B7C-4C44-4474-A8DB-879B575F4D36}" presName="bullet3b" presStyleLbl="node1" presStyleIdx="1" presStyleCnt="3" custScaleY="97983" custLinFactX="100000" custLinFactNeighborX="141855" custLinFactNeighborY="-57697"/>
      <dgm:spPr/>
    </dgm:pt>
    <dgm:pt modelId="{92DB399B-6698-4F50-8AC4-13AB36A162D8}" type="pres">
      <dgm:prSet presAssocID="{972B4B7C-4C44-4474-A8DB-879B575F4D36}" presName="textBox3b" presStyleLbl="revTx" presStyleIdx="1" presStyleCnt="3" custLinFactNeighborX="29770" custLinFactNeighborY="11054">
        <dgm:presLayoutVars>
          <dgm:bulletEnabled val="1"/>
        </dgm:presLayoutVars>
      </dgm:prSet>
      <dgm:spPr/>
    </dgm:pt>
    <dgm:pt modelId="{35089316-E4AD-4EAB-B42A-2F26566EFEF3}" type="pres">
      <dgm:prSet presAssocID="{773BC72E-42F9-463B-9EE2-1FDE5EA86E89}" presName="bullet3c" presStyleLbl="node1" presStyleIdx="2" presStyleCnt="3" custLinFactX="189663" custLinFactNeighborX="200000" custLinFactNeighborY="-7311"/>
      <dgm:spPr/>
    </dgm:pt>
    <dgm:pt modelId="{B8661640-E350-4AE3-A8FB-E204837C6FA0}" type="pres">
      <dgm:prSet presAssocID="{773BC72E-42F9-463B-9EE2-1FDE5EA86E89}" presName="textBox3c" presStyleLbl="revTx" presStyleIdx="2" presStyleCnt="3" custLinFactNeighborX="38625" custLinFactNeighborY="-17156">
        <dgm:presLayoutVars>
          <dgm:bulletEnabled val="1"/>
        </dgm:presLayoutVars>
      </dgm:prSet>
      <dgm:spPr/>
    </dgm:pt>
  </dgm:ptLst>
  <dgm:cxnLst>
    <dgm:cxn modelId="{AA85A142-F12D-4F25-9499-B7EEF20D77BF}" srcId="{CB335748-B7FA-4667-B200-5D26C0F1858D}" destId="{972B4B7C-4C44-4474-A8DB-879B575F4D36}" srcOrd="1" destOrd="0" parTransId="{CEE83B96-5384-4C80-A9ED-F2436CF53279}" sibTransId="{6A5E4AD2-654B-432A-8373-22E58AA39C46}"/>
    <dgm:cxn modelId="{DDDD2964-130A-4A34-A36C-345BB7EE2D48}" type="presOf" srcId="{972B4B7C-4C44-4474-A8DB-879B575F4D36}" destId="{92DB399B-6698-4F50-8AC4-13AB36A162D8}" srcOrd="0" destOrd="0" presId="urn:microsoft.com/office/officeart/2005/8/layout/arrow2"/>
    <dgm:cxn modelId="{B0F83781-85EC-464A-8BCD-1B47F9EA7447}" srcId="{CB335748-B7FA-4667-B200-5D26C0F1858D}" destId="{71C6E5E8-6CE6-4E59-B57C-E2F11B208E36}" srcOrd="0" destOrd="0" parTransId="{96ADFAAF-E98D-4B47-BB5B-A09F8C24E944}" sibTransId="{55B2D113-D6BB-4A26-A315-9DFD2BFE818F}"/>
    <dgm:cxn modelId="{376605A1-A9CE-4458-83F0-5BAB7A3B2109}" srcId="{CB335748-B7FA-4667-B200-5D26C0F1858D}" destId="{773BC72E-42F9-463B-9EE2-1FDE5EA86E89}" srcOrd="2" destOrd="0" parTransId="{4138E9C1-4AE5-4AC6-BFDE-4156A13240F7}" sibTransId="{F4608C51-A28F-402E-9293-A3760534F389}"/>
    <dgm:cxn modelId="{A7A665AD-2F36-4905-BA75-52FAE5DC1CE5}" type="presOf" srcId="{CB335748-B7FA-4667-B200-5D26C0F1858D}" destId="{DA67A41C-C71C-4AF6-88A6-171B0FF2F787}" srcOrd="0" destOrd="0" presId="urn:microsoft.com/office/officeart/2005/8/layout/arrow2"/>
    <dgm:cxn modelId="{AAF359CA-EB2B-45DF-AE95-2A2366F8B37D}" type="presOf" srcId="{71C6E5E8-6CE6-4E59-B57C-E2F11B208E36}" destId="{7542874A-224B-41A8-910D-A8DC324F3E79}" srcOrd="0" destOrd="0" presId="urn:microsoft.com/office/officeart/2005/8/layout/arrow2"/>
    <dgm:cxn modelId="{E4942AF4-8DC7-4E48-BC02-DC6659ABC78D}" type="presOf" srcId="{773BC72E-42F9-463B-9EE2-1FDE5EA86E89}" destId="{B8661640-E350-4AE3-A8FB-E204837C6FA0}" srcOrd="0" destOrd="0" presId="urn:microsoft.com/office/officeart/2005/8/layout/arrow2"/>
    <dgm:cxn modelId="{E1B6BCE6-72E2-48B5-8C9E-E8EF9222AFCC}" type="presParOf" srcId="{DA67A41C-C71C-4AF6-88A6-171B0FF2F787}" destId="{FDE0ED62-39AF-4A29-8D44-F0520B2CCB1A}" srcOrd="0" destOrd="0" presId="urn:microsoft.com/office/officeart/2005/8/layout/arrow2"/>
    <dgm:cxn modelId="{0E6E53E1-2E89-4748-8F68-00A8F0DB4EA5}" type="presParOf" srcId="{DA67A41C-C71C-4AF6-88A6-171B0FF2F787}" destId="{4F247DFF-0A70-4F3C-AAE2-8A5064A2BBF9}" srcOrd="1" destOrd="0" presId="urn:microsoft.com/office/officeart/2005/8/layout/arrow2"/>
    <dgm:cxn modelId="{9EEEFB5A-E829-44A7-8A8B-11C99B0D377D}" type="presParOf" srcId="{4F247DFF-0A70-4F3C-AAE2-8A5064A2BBF9}" destId="{AE4A6E28-D384-42BB-9493-97F5DEBFB05C}" srcOrd="0" destOrd="0" presId="urn:microsoft.com/office/officeart/2005/8/layout/arrow2"/>
    <dgm:cxn modelId="{47DF0EC5-0FE1-4968-AE83-44059C259175}" type="presParOf" srcId="{4F247DFF-0A70-4F3C-AAE2-8A5064A2BBF9}" destId="{7542874A-224B-41A8-910D-A8DC324F3E79}" srcOrd="1" destOrd="0" presId="urn:microsoft.com/office/officeart/2005/8/layout/arrow2"/>
    <dgm:cxn modelId="{338340DF-48F3-493F-A809-735469A52D16}" type="presParOf" srcId="{4F247DFF-0A70-4F3C-AAE2-8A5064A2BBF9}" destId="{827E77E7-56A1-4C3A-9588-0C3DC89AC6F0}" srcOrd="2" destOrd="0" presId="urn:microsoft.com/office/officeart/2005/8/layout/arrow2"/>
    <dgm:cxn modelId="{6C7E05BD-DC18-41AF-A8A9-D5ECF4892AC0}" type="presParOf" srcId="{4F247DFF-0A70-4F3C-AAE2-8A5064A2BBF9}" destId="{92DB399B-6698-4F50-8AC4-13AB36A162D8}" srcOrd="3" destOrd="0" presId="urn:microsoft.com/office/officeart/2005/8/layout/arrow2"/>
    <dgm:cxn modelId="{75B9B82E-00C5-4620-9F4E-7E7B09BEBF90}" type="presParOf" srcId="{4F247DFF-0A70-4F3C-AAE2-8A5064A2BBF9}" destId="{35089316-E4AD-4EAB-B42A-2F26566EFEF3}" srcOrd="4" destOrd="0" presId="urn:microsoft.com/office/officeart/2005/8/layout/arrow2"/>
    <dgm:cxn modelId="{C3EF4654-ADD9-4F5C-8ABE-394437A4C1DD}" type="presParOf" srcId="{4F247DFF-0A70-4F3C-AAE2-8A5064A2BBF9}" destId="{B8661640-E350-4AE3-A8FB-E204837C6FA0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E0ED62-39AF-4A29-8D44-F0520B2CCB1A}">
      <dsp:nvSpPr>
        <dsp:cNvPr id="0" name=""/>
        <dsp:cNvSpPr/>
      </dsp:nvSpPr>
      <dsp:spPr>
        <a:xfrm>
          <a:off x="0" y="250213"/>
          <a:ext cx="3847789" cy="2103033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4A6E28-D384-42BB-9493-97F5DEBFB05C}">
      <dsp:nvSpPr>
        <dsp:cNvPr id="0" name=""/>
        <dsp:cNvSpPr/>
      </dsp:nvSpPr>
      <dsp:spPr>
        <a:xfrm flipH="1" flipV="1">
          <a:off x="0" y="1514562"/>
          <a:ext cx="339371" cy="599160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542874A-224B-41A8-910D-A8DC324F3E79}">
      <dsp:nvSpPr>
        <dsp:cNvPr id="0" name=""/>
        <dsp:cNvSpPr/>
      </dsp:nvSpPr>
      <dsp:spPr>
        <a:xfrm>
          <a:off x="394366" y="1954201"/>
          <a:ext cx="896534" cy="6950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010" tIns="0" rIns="0" bIns="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kern="1200" dirty="0"/>
            <a:t>Isolated the effect of each activation driver using advanced </a:t>
          </a:r>
          <a:r>
            <a:rPr lang="en-IN" sz="800" b="1" kern="1200" dirty="0"/>
            <a:t>machine learning algorithms</a:t>
          </a:r>
          <a:endParaRPr lang="en-US" sz="800" b="1" kern="1200" dirty="0"/>
        </a:p>
      </dsp:txBody>
      <dsp:txXfrm>
        <a:off x="394366" y="1954201"/>
        <a:ext cx="896534" cy="695006"/>
      </dsp:txXfrm>
    </dsp:sp>
    <dsp:sp modelId="{827E77E7-56A1-4C3A-9588-0C3DC89AC6F0}">
      <dsp:nvSpPr>
        <dsp:cNvPr id="0" name=""/>
        <dsp:cNvSpPr/>
      </dsp:nvSpPr>
      <dsp:spPr>
        <a:xfrm>
          <a:off x="1809122" y="964328"/>
          <a:ext cx="180846" cy="17719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DB399B-6698-4F50-8AC4-13AB36A162D8}">
      <dsp:nvSpPr>
        <dsp:cNvPr id="0" name=""/>
        <dsp:cNvSpPr/>
      </dsp:nvSpPr>
      <dsp:spPr>
        <a:xfrm>
          <a:off x="1737076" y="1301883"/>
          <a:ext cx="923469" cy="13082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827" tIns="0" rIns="0" bIns="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Quantified impact </a:t>
          </a:r>
          <a:r>
            <a:rPr lang="en-IN" sz="800" kern="1200" dirty="0"/>
            <a:t>of each activation drivers on sales</a:t>
          </a:r>
          <a:endParaRPr lang="en-US" sz="800" kern="1200" dirty="0"/>
        </a:p>
      </dsp:txBody>
      <dsp:txXfrm>
        <a:off x="1737076" y="1301883"/>
        <a:ext cx="923469" cy="1308248"/>
      </dsp:txXfrm>
    </dsp:sp>
    <dsp:sp modelId="{35089316-E4AD-4EAB-B42A-2F26566EFEF3}">
      <dsp:nvSpPr>
        <dsp:cNvPr id="0" name=""/>
        <dsp:cNvSpPr/>
      </dsp:nvSpPr>
      <dsp:spPr>
        <a:xfrm>
          <a:off x="3408298" y="650796"/>
          <a:ext cx="250106" cy="25010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661640-E350-4AE3-A8FB-E204837C6FA0}">
      <dsp:nvSpPr>
        <dsp:cNvPr id="0" name=""/>
        <dsp:cNvSpPr/>
      </dsp:nvSpPr>
      <dsp:spPr>
        <a:xfrm>
          <a:off x="2915469" y="507392"/>
          <a:ext cx="923469" cy="16713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2526" tIns="0" rIns="0" bIns="0" numCol="1" spcCol="1270" anchor="ctr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Recommended  product and store prioritization </a:t>
          </a:r>
          <a:r>
            <a:rPr lang="en-IN" sz="800" kern="1200" dirty="0"/>
            <a:t>for sampling and in-store execution </a:t>
          </a:r>
          <a:endParaRPr lang="en-US" sz="800" kern="1200" dirty="0"/>
        </a:p>
      </dsp:txBody>
      <dsp:txXfrm>
        <a:off x="2915469" y="507392"/>
        <a:ext cx="923469" cy="16713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445425-C3F1-E445-8EDE-14B714D5165D}" type="datetimeFigureOut">
              <a:rPr lang="en-US" smtClean="0"/>
              <a:t>6/1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7A19CE-A3AE-B34B-87A1-7B0577F695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8442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99C16E-0905-4510-A8DE-DA1F35E49ED7}" type="datetimeFigureOut">
              <a:rPr lang="en-GB" smtClean="0"/>
              <a:t>12/06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B59AA8-EB5A-4DA6-A058-16F34B990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60303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ion Points:</a:t>
            </a:r>
          </a:p>
          <a:p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NL Data</a:t>
            </a:r>
          </a:p>
          <a:p>
            <a:pPr marL="228600" indent="-228600">
              <a:buAutoNum type="arabicPeriod"/>
            </a:pPr>
            <a:r>
              <a:rPr lang="en-US" dirty="0"/>
              <a:t>MediaCom Data</a:t>
            </a:r>
          </a:p>
          <a:p>
            <a:pPr marL="228600" indent="-228600">
              <a:buAutoNum type="arabicPeriod"/>
            </a:pPr>
            <a:r>
              <a:rPr lang="en-US" dirty="0"/>
              <a:t>AOP Methodology and Scope</a:t>
            </a:r>
          </a:p>
          <a:p>
            <a:pPr marL="228600" indent="-228600">
              <a:buAutoNum type="arabicPeriod"/>
            </a:pPr>
            <a:r>
              <a:rPr lang="en-US" dirty="0"/>
              <a:t>Data access – DBP Team</a:t>
            </a:r>
          </a:p>
          <a:p>
            <a:pPr marL="228600" indent="-228600">
              <a:buAutoNum type="arabicPeriod"/>
            </a:pPr>
            <a:r>
              <a:rPr lang="en-US" dirty="0"/>
              <a:t>Weekly Tracker Data Upload</a:t>
            </a:r>
          </a:p>
          <a:p>
            <a:pPr marL="228600" indent="-228600">
              <a:buAutoNum type="arabicPeriod"/>
            </a:pPr>
            <a:r>
              <a:rPr lang="en-US" dirty="0"/>
              <a:t>Nielsen FTP Credent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B59AA8-EB5A-4DA6-A058-16F34B990A26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23889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B59AA8-EB5A-4DA6-A058-16F34B990A26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58036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ion Points:</a:t>
            </a:r>
          </a:p>
          <a:p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NL Data</a:t>
            </a:r>
          </a:p>
          <a:p>
            <a:pPr marL="228600" indent="-228600">
              <a:buAutoNum type="arabicPeriod"/>
            </a:pPr>
            <a:r>
              <a:rPr lang="en-US" dirty="0"/>
              <a:t>MediaCom Data</a:t>
            </a:r>
          </a:p>
          <a:p>
            <a:pPr marL="228600" indent="-228600">
              <a:buAutoNum type="arabicPeriod"/>
            </a:pPr>
            <a:r>
              <a:rPr lang="en-US" dirty="0"/>
              <a:t>AOP Methodology and Scope</a:t>
            </a:r>
          </a:p>
          <a:p>
            <a:pPr marL="228600" indent="-228600">
              <a:buAutoNum type="arabicPeriod"/>
            </a:pPr>
            <a:r>
              <a:rPr lang="en-US" dirty="0"/>
              <a:t>Data access – DBP Team</a:t>
            </a:r>
          </a:p>
          <a:p>
            <a:pPr marL="228600" indent="-228600">
              <a:buAutoNum type="arabicPeriod"/>
            </a:pPr>
            <a:r>
              <a:rPr lang="en-US" dirty="0"/>
              <a:t>Weekly Tracker Data Upload</a:t>
            </a:r>
          </a:p>
          <a:p>
            <a:pPr marL="228600" indent="-228600">
              <a:buAutoNum type="arabicPeriod"/>
            </a:pPr>
            <a:r>
              <a:rPr lang="en-US" dirty="0"/>
              <a:t>Nielsen FTP Credent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B59AA8-EB5A-4DA6-A058-16F34B990A26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3973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ion Points:</a:t>
            </a:r>
          </a:p>
          <a:p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NL Data</a:t>
            </a:r>
          </a:p>
          <a:p>
            <a:pPr marL="228600" indent="-228600">
              <a:buAutoNum type="arabicPeriod"/>
            </a:pPr>
            <a:r>
              <a:rPr lang="en-US" dirty="0"/>
              <a:t>MediaCom Data</a:t>
            </a:r>
          </a:p>
          <a:p>
            <a:pPr marL="228600" indent="-228600">
              <a:buAutoNum type="arabicPeriod"/>
            </a:pPr>
            <a:r>
              <a:rPr lang="en-US" dirty="0"/>
              <a:t>AOP Methodology and Scope</a:t>
            </a:r>
          </a:p>
          <a:p>
            <a:pPr marL="228600" indent="-228600">
              <a:buAutoNum type="arabicPeriod"/>
            </a:pPr>
            <a:r>
              <a:rPr lang="en-US" dirty="0"/>
              <a:t>Data access – DBP Team</a:t>
            </a:r>
          </a:p>
          <a:p>
            <a:pPr marL="228600" indent="-228600">
              <a:buAutoNum type="arabicPeriod"/>
            </a:pPr>
            <a:r>
              <a:rPr lang="en-US" dirty="0"/>
              <a:t>Weekly Tracker Data Upload</a:t>
            </a:r>
          </a:p>
          <a:p>
            <a:pPr marL="228600" indent="-228600">
              <a:buAutoNum type="arabicPeriod"/>
            </a:pPr>
            <a:r>
              <a:rPr lang="en-US" dirty="0"/>
              <a:t>Nielsen FTP Credent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B59AA8-EB5A-4DA6-A058-16F34B990A26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81761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B59AA8-EB5A-4DA6-A058-16F34B990A26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07133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/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val="19018430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2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3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5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6.bin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31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0.emf"/><Relationship Id="rId5" Type="http://schemas.openxmlformats.org/officeDocument/2006/relationships/image" Target="../media/image29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33.sv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35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4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8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7" Type="http://schemas.openxmlformats.org/officeDocument/2006/relationships/image" Target="../media/image40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0.emf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4" Type="http://schemas.microsoft.com/office/2007/relationships/hdphoto" Target="../media/hdphoto3.wdp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microsoft.com/office/2007/relationships/hdphoto" Target="../media/hdphoto4.wdp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Relationship Id="rId4" Type="http://schemas.microsoft.com/office/2007/relationships/hdphoto" Target="../media/hdphoto5.wdp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Relationship Id="rId4" Type="http://schemas.microsoft.com/office/2007/relationships/hdphoto" Target="../media/hdphoto6.wdp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microsoft.com/office/2007/relationships/hdphoto" Target="../media/hdphoto2.wdp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.bin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.bin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MWC PROJECTS\MARS INC\4157 Leadership Summit 2014\Interbrand (&amp;) and details\Mars&amp;_logo-01 wt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56713" y="4528458"/>
            <a:ext cx="1481710" cy="491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77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9" name="Picture 3" descr="D:\MWC PROJECTS\MARS INC\4157 Leadership Summit 2014\assets\Leadership Summit Background Dots dk blue brighter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 flipV="1"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0" y="2405686"/>
            <a:ext cx="9144000" cy="1433286"/>
          </a:xfrm>
          <a:prstGeom prst="rect">
            <a:avLst/>
          </a:prstGeom>
          <a:gradFill flip="none" rotWithShape="1">
            <a:gsLst>
              <a:gs pos="69000">
                <a:schemeClr val="accent2"/>
              </a:gs>
              <a:gs pos="30000">
                <a:schemeClr val="accent2"/>
              </a:gs>
              <a:gs pos="0">
                <a:schemeClr val="accent2">
                  <a:alpha val="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">
          <a:xfrm>
            <a:off x="457200" y="2604575"/>
            <a:ext cx="8229600" cy="1046375"/>
          </a:xfrm>
        </p:spPr>
        <p:txBody>
          <a:bodyPr/>
          <a:lstStyle>
            <a:lvl1pPr algn="ctr">
              <a:defRPr sz="4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Mars Incorp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3835" y="846146"/>
            <a:ext cx="4176331" cy="969351"/>
          </a:xfrm>
          <a:prstGeom prst="rect">
            <a:avLst/>
          </a:prstGeom>
        </p:spPr>
      </p:pic>
      <p:sp>
        <p:nvSpPr>
          <p:cNvPr id="10" name="Text Box 14"/>
          <p:cNvSpPr txBox="1">
            <a:spLocks noChangeArrowheads="1"/>
          </p:cNvSpPr>
          <p:nvPr userDrawn="1"/>
        </p:nvSpPr>
        <p:spPr bwMode="auto">
          <a:xfrm>
            <a:off x="408841" y="4976004"/>
            <a:ext cx="2947988" cy="6745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929063"/>
            <a:ext cx="8229600" cy="4508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baseline="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332136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reaker or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H="1">
            <a:off x="0" y="-8238"/>
            <a:ext cx="9144000" cy="5140411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9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4" name="Picture 3" descr="colorsFinal-2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46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ind -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t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87690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+ SubTitle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2" name="Round Same Side Corner Rectangle 21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104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5"/>
            <a:ext cx="2947988" cy="6995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defTabSz="457189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HIGHLY CONFIDENTIA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2405686"/>
            <a:ext cx="9144000" cy="1433286"/>
          </a:xfrm>
          <a:prstGeom prst="rect">
            <a:avLst/>
          </a:prstGeom>
          <a:gradFill flip="none" rotWithShape="1">
            <a:gsLst>
              <a:gs pos="69000">
                <a:schemeClr val="accent2"/>
              </a:gs>
              <a:gs pos="30000">
                <a:schemeClr val="accent2"/>
              </a:gs>
              <a:gs pos="0">
                <a:schemeClr val="accent2">
                  <a:alpha val="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">
          <a:xfrm>
            <a:off x="457200" y="2604576"/>
            <a:ext cx="8229600" cy="1046375"/>
          </a:xfrm>
          <a:prstGeom prst="rect">
            <a:avLst/>
          </a:prstGeom>
        </p:spPr>
        <p:txBody>
          <a:bodyPr/>
          <a:lstStyle>
            <a:lvl1pPr algn="ctr">
              <a:defRPr sz="4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Mars Incorp.pn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3836" y="846146"/>
            <a:ext cx="4176331" cy="969351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929064"/>
            <a:ext cx="8229600" cy="4508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baseline="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78157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eaker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7D3509-446B-4BC8-B3AB-AD844C32C7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7D3509-446B-4BC8-B3AB-AD844C32C7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5"/>
            <a:ext cx="2947988" cy="6995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defTabSz="457189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HIGHLY CONFIDENTIAL</a:t>
            </a:r>
          </a:p>
        </p:txBody>
      </p:sp>
      <p:pic>
        <p:nvPicPr>
          <p:cNvPr id="10" name="Picture 9" descr="colorsFinal-2.png"/>
          <p:cNvPicPr>
            <a:picLocks noChangeAspect="1"/>
          </p:cNvPicPr>
          <p:nvPr userDrawn="1"/>
        </p:nvPicPr>
        <p:blipFill rotWithShape="1">
          <a:blip r:embed="rId7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1" y="4837288"/>
            <a:ext cx="803563" cy="19433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083320"/>
            <a:ext cx="8229600" cy="10463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8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8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reaker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H="1">
            <a:off x="0" y="-8237"/>
            <a:ext cx="9144000" cy="5140411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5"/>
            <a:ext cx="2947988" cy="6995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defTabSz="457189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>
                <a:solidFill>
                  <a:srgbClr val="000000">
                    <a:lumMod val="50000"/>
                    <a:lumOff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HIGHLY CONFIDENTIAL</a:t>
            </a:r>
          </a:p>
        </p:txBody>
      </p:sp>
      <p:pic>
        <p:nvPicPr>
          <p:cNvPr id="5" name="Picture 4" descr="colorsFinal-2.pn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1" y="4837288"/>
            <a:ext cx="803563" cy="194331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083320"/>
            <a:ext cx="8229600" cy="104637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8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0" y="2414785"/>
            <a:ext cx="9144000" cy="313932"/>
          </a:xfrm>
          <a:prstGeom prst="rect">
            <a:avLst/>
          </a:prstGeom>
          <a:solidFill>
            <a:schemeClr val="bg1">
              <a:alpha val="4500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457189">
              <a:lnSpc>
                <a:spcPct val="80000"/>
              </a:lnSpc>
            </a:pPr>
            <a:endParaRPr 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859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684" y="7071"/>
            <a:ext cx="8629481" cy="784781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8261350" cy="3594100"/>
          </a:xfrm>
          <a:prstGeom prst="rect">
            <a:avLst/>
          </a:prstGeom>
        </p:spPr>
        <p:txBody>
          <a:bodyPr/>
          <a:lstStyle>
            <a:lvl1pPr marL="127394" indent="-127394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1600">
                <a:latin typeface="Calibri" panose="020F0502020204030204" pitchFamily="34" charset="0"/>
              </a:defRPr>
            </a:lvl1pPr>
            <a:lvl2pPr>
              <a:lnSpc>
                <a:spcPct val="85000"/>
              </a:lnSpc>
              <a:spcAft>
                <a:spcPts val="600"/>
              </a:spcAft>
              <a:buClr>
                <a:schemeClr val="tx1"/>
              </a:buClr>
              <a:defRPr sz="1400">
                <a:latin typeface="Calibri" panose="020F0502020204030204" pitchFamily="34" charset="0"/>
              </a:defRPr>
            </a:lvl2pPr>
            <a:lvl3pPr marL="685783" indent="-103583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09" indent="-109535">
              <a:defRPr lang="en-US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685783" marR="0" lvl="2" indent="-103583" algn="l" defTabSz="914378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09" marR="0" lvl="3" indent="-109535" algn="l" defTabSz="914378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409205" y="4971583"/>
            <a:ext cx="1557709" cy="699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defTabSz="457189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>
                <a:solidFill>
                  <a:srgbClr val="000000">
                    <a:lumMod val="50000"/>
                    <a:lumOff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58217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B5F809D-B3E6-4598-A39B-FF958E2B8E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1" name="think-cell Slide" r:id="rId4" imgW="592" imgH="588" progId="TCLayout.ActiveDocument.1">
                  <p:embed/>
                </p:oleObj>
              </mc:Choice>
              <mc:Fallback>
                <p:oleObj name="think-cell Slide" r:id="rId4" imgW="592" imgH="58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B5F809D-B3E6-4598-A39B-FF958E2B8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684" y="7071"/>
            <a:ext cx="8629481" cy="784781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390650" y="4933713"/>
            <a:ext cx="488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6" name="Text Box 14"/>
          <p:cNvSpPr txBox="1">
            <a:spLocks noChangeArrowheads="1"/>
          </p:cNvSpPr>
          <p:nvPr userDrawn="1"/>
        </p:nvSpPr>
        <p:spPr bwMode="auto">
          <a:xfrm>
            <a:off x="409205" y="4971583"/>
            <a:ext cx="1557709" cy="699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defTabSz="457189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>
                <a:solidFill>
                  <a:srgbClr val="000000">
                    <a:lumMod val="50000"/>
                    <a:lumOff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44137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684" y="7071"/>
            <a:ext cx="8629481" cy="784781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7" y="916134"/>
            <a:ext cx="3938587" cy="3779838"/>
          </a:xfrm>
          <a:prstGeom prst="rect">
            <a:avLst/>
          </a:prstGeom>
        </p:spPr>
        <p:txBody>
          <a:bodyPr/>
          <a:lstStyle>
            <a:lvl1pPr marL="127394" indent="-127394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25" indent="-134538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5783" indent="-103583">
              <a:lnSpc>
                <a:spcPct val="85000"/>
              </a:lnSpc>
              <a:spcAft>
                <a:spcPts val="600"/>
              </a:spcAft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09" indent="-109535">
              <a:buClr>
                <a:schemeClr val="accent1"/>
              </a:buClr>
              <a:buFont typeface="Arial" pitchFamily="34" charset="0"/>
              <a:buChar char="–"/>
              <a:defRPr sz="1100">
                <a:latin typeface="Calibri" panose="020F0502020204030204" pitchFamily="34" charset="0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4" marR="0" lvl="0" indent="-127394" algn="l" defTabSz="914378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25" marR="0" lvl="1" indent="-134538" algn="l" defTabSz="914378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783" marR="0" lvl="2" indent="-103583" algn="l" defTabSz="914378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0" y="916134"/>
            <a:ext cx="4184650" cy="3779838"/>
          </a:xfrm>
          <a:prstGeom prst="rect">
            <a:avLst/>
          </a:prstGeom>
        </p:spPr>
        <p:txBody>
          <a:bodyPr/>
          <a:lstStyle>
            <a:lvl1pPr marL="127394" indent="-127394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25" indent="-134538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67944" indent="-285743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685783" indent="-103583">
              <a:defRPr lang="en-US" sz="11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4" marR="0" lvl="0" indent="-127394" algn="l" defTabSz="914378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25" marR="0" lvl="1" indent="-134538" algn="l" defTabSz="914378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783" marR="0" lvl="2" indent="-103583" algn="l" defTabSz="914378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09" marR="0" lvl="3" indent="-109535" algn="l" defTabSz="914378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  <a:tabLst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Box 14"/>
          <p:cNvSpPr txBox="1">
            <a:spLocks noChangeArrowheads="1"/>
          </p:cNvSpPr>
          <p:nvPr userDrawn="1"/>
        </p:nvSpPr>
        <p:spPr bwMode="auto">
          <a:xfrm>
            <a:off x="409205" y="4971583"/>
            <a:ext cx="1557709" cy="699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defTabSz="457189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>
                <a:solidFill>
                  <a:srgbClr val="000000">
                    <a:lumMod val="50000"/>
                    <a:lumOff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83395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4"/>
          <p:cNvSpPr txBox="1">
            <a:spLocks noChangeArrowheads="1"/>
          </p:cNvSpPr>
          <p:nvPr userDrawn="1"/>
        </p:nvSpPr>
        <p:spPr bwMode="auto">
          <a:xfrm>
            <a:off x="409205" y="4971583"/>
            <a:ext cx="1557709" cy="699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defTabSz="457189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>
                <a:solidFill>
                  <a:srgbClr val="000000">
                    <a:lumMod val="50000"/>
                    <a:lumOff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HIGHLY CONFIDENTIAL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BDEC4854-AB65-4512-A9F0-A5DA93672D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942" y="4860293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defTabSz="457189"/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189"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24074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6" y="969685"/>
            <a:ext cx="8438320" cy="3821700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189687" indent="-189687" algn="l" defTabSz="685534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165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Wizard Char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2031" y="121500"/>
            <a:ext cx="8301046" cy="6237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EEA0722A-5E4A-449F-AD50-284FAAC00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942" y="4860293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defTabSz="457189"/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189"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285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8261350" cy="3594100"/>
          </a:xfrm>
          <a:prstGeom prst="rect">
            <a:avLst/>
          </a:prstGeom>
        </p:spPr>
        <p:txBody>
          <a:bodyPr/>
          <a:lstStyle>
            <a:lvl1pPr marL="127397" indent="-127397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1600">
                <a:latin typeface="Calibri" panose="020F0502020204030204" pitchFamily="34" charset="0"/>
              </a:defRPr>
            </a:lvl1pPr>
            <a:lvl2pPr>
              <a:lnSpc>
                <a:spcPct val="85000"/>
              </a:lnSpc>
              <a:spcAft>
                <a:spcPts val="600"/>
              </a:spcAft>
              <a:buClr>
                <a:schemeClr val="tx1"/>
              </a:buClr>
              <a:defRPr sz="1400">
                <a:latin typeface="Calibri" panose="020F0502020204030204" pitchFamily="34" charset="0"/>
              </a:defRPr>
            </a:lvl2pPr>
            <a:lvl3pPr marL="685800" indent="-103585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defRPr lang="en-US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9982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T Title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5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810" y="44192"/>
            <a:ext cx="8824357" cy="72525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B129308-378F-4FA4-B563-6B3DA4A994F7}"/>
              </a:ext>
            </a:extLst>
          </p:cNvPr>
          <p:cNvSpPr/>
          <p:nvPr userDrawn="1"/>
        </p:nvSpPr>
        <p:spPr>
          <a:xfrm>
            <a:off x="-632" y="805116"/>
            <a:ext cx="9144632" cy="4336408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 defTabSz="457189">
              <a:lnSpc>
                <a:spcPct val="80000"/>
              </a:lnSpc>
            </a:pPr>
            <a:endParaRPr lang="en-US" sz="1800">
              <a:solidFill>
                <a:srgbClr val="000000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CF009B9-5A93-43C8-9FF0-6F3AE1B41F5A}"/>
              </a:ext>
            </a:extLst>
          </p:cNvPr>
          <p:cNvGrpSpPr/>
          <p:nvPr userDrawn="1"/>
        </p:nvGrpSpPr>
        <p:grpSpPr>
          <a:xfrm>
            <a:off x="0" y="801473"/>
            <a:ext cx="9144000" cy="4342019"/>
            <a:chOff x="0" y="801473"/>
            <a:chExt cx="9144000" cy="433463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B30270C-C994-423D-9718-AB08BFD8297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6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2045" t="23863" r="15817" b="26481"/>
            <a:stretch/>
          </p:blipFill>
          <p:spPr>
            <a:xfrm>
              <a:off x="5467186" y="801473"/>
              <a:ext cx="3676814" cy="4332667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9CBFBBB-284D-41B4-AB75-10EA29BEEC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801473"/>
              <a:ext cx="2235902" cy="4334632"/>
            </a:xfrm>
            <a:prstGeom prst="rect">
              <a:avLst/>
            </a:prstGeom>
          </p:spPr>
        </p:pic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F49D5379-E196-48B5-B456-1FEE9BB0B38F}"/>
              </a:ext>
            </a:extLst>
          </p:cNvPr>
          <p:cNvSpPr/>
          <p:nvPr userDrawn="1"/>
        </p:nvSpPr>
        <p:spPr>
          <a:xfrm>
            <a:off x="0" y="799366"/>
            <a:ext cx="9144000" cy="4344134"/>
          </a:xfrm>
          <a:prstGeom prst="rect">
            <a:avLst/>
          </a:prstGeom>
          <a:gradFill flip="none" rotWithShape="1">
            <a:gsLst>
              <a:gs pos="55076">
                <a:schemeClr val="bg1"/>
              </a:gs>
              <a:gs pos="78000">
                <a:schemeClr val="bg1">
                  <a:alpha val="57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 defTabSz="457189">
              <a:lnSpc>
                <a:spcPct val="80000"/>
              </a:lnSpc>
            </a:pPr>
            <a:endParaRPr lang="en-US" sz="1800">
              <a:solidFill>
                <a:srgbClr val="000000"/>
              </a:solidFill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BD83187-151F-46DD-977C-F8866F1E69D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11327" y="4828543"/>
            <a:ext cx="751571" cy="147105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1C5D2B9-6326-46ED-BCAE-D134CB73AB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6651" y="1355107"/>
            <a:ext cx="7935913" cy="13942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887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7231C7-5948-4776-B740-C924FCE744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7231C7-5948-4776-B740-C924FCE744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Box 14"/>
          <p:cNvSpPr txBox="1">
            <a:spLocks noChangeArrowheads="1"/>
          </p:cNvSpPr>
          <p:nvPr userDrawn="1"/>
        </p:nvSpPr>
        <p:spPr bwMode="auto">
          <a:xfrm>
            <a:off x="3098008" y="4906201"/>
            <a:ext cx="2947988" cy="11657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algn="ctr" defTabSz="457166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750">
                <a:solidFill>
                  <a:srgbClr val="FFFFFF">
                    <a:lumMod val="8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18 MARS, INCORPORATED | CONFIDENTIA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944" y="4860294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defTabSz="457166"/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166"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5" descr="Mars Incorp.png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39594" y="4819750"/>
            <a:ext cx="771692" cy="179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01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4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760" t="57655" r="6762"/>
          <a:stretch/>
        </p:blipFill>
        <p:spPr>
          <a:xfrm rot="5400000">
            <a:off x="5578213" y="1655642"/>
            <a:ext cx="5202409" cy="188760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2405686"/>
            <a:ext cx="9144000" cy="2737814"/>
          </a:xfrm>
          <a:prstGeom prst="rect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rgbClr val="000C1A"/>
              </a:gs>
            </a:gsLst>
            <a:lin ang="5400000" scaled="1"/>
          </a:gradFill>
        </p:spPr>
        <p:txBody>
          <a:bodyPr wrap="square" rtlCol="0" anchor="ctr">
            <a:noAutofit/>
          </a:bodyPr>
          <a:lstStyle/>
          <a:p>
            <a:pPr algn="ctr" defTabSz="457154">
              <a:lnSpc>
                <a:spcPct val="80000"/>
              </a:lnSpc>
            </a:pPr>
            <a:endParaRPr lang="en-US" sz="1800">
              <a:solidFill>
                <a:srgbClr val="000000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760" t="57655" r="6762"/>
          <a:stretch/>
        </p:blipFill>
        <p:spPr>
          <a:xfrm rot="16200000" flipH="1">
            <a:off x="-1649317" y="1657400"/>
            <a:ext cx="5202409" cy="1887609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217170"/>
            <a:ext cx="9144000" cy="4926616"/>
          </a:xfrm>
          <a:prstGeom prst="rect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rgbClr val="000C1A"/>
              </a:gs>
            </a:gsLst>
            <a:lin ang="5400000" scaled="1"/>
          </a:gradFill>
        </p:spPr>
        <p:txBody>
          <a:bodyPr wrap="square" rtlCol="0" anchor="ctr">
            <a:noAutofit/>
          </a:bodyPr>
          <a:lstStyle/>
          <a:p>
            <a:pPr algn="ctr" defTabSz="457154">
              <a:lnSpc>
                <a:spcPct val="80000"/>
              </a:lnSpc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0" y="3115482"/>
            <a:ext cx="9144000" cy="1097280"/>
          </a:xfrm>
          <a:prstGeom prst="rect">
            <a:avLst/>
          </a:prstGeom>
          <a:gradFill flip="none" rotWithShape="1">
            <a:gsLst>
              <a:gs pos="69000">
                <a:schemeClr val="accent2"/>
              </a:gs>
              <a:gs pos="30000">
                <a:schemeClr val="accent2"/>
              </a:gs>
              <a:gs pos="0">
                <a:schemeClr val="accent2">
                  <a:alpha val="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4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419" y="3324566"/>
            <a:ext cx="8250382" cy="64579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33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4" cstate="print">
            <a:alphaModFix amt="6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63" t="25173" r="5761" b="25171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3531" y="2457737"/>
            <a:ext cx="5212080" cy="626395"/>
          </a:xfrm>
          <a:prstGeom prst="rect">
            <a:avLst/>
          </a:prstGeom>
        </p:spPr>
      </p:pic>
      <p:pic>
        <p:nvPicPr>
          <p:cNvPr id="13" name="Picture 12" descr="Mars Incorp.png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40039" y="4554717"/>
            <a:ext cx="1440580" cy="334367"/>
          </a:xfrm>
          <a:prstGeom prst="rect">
            <a:avLst/>
          </a:prstGeom>
        </p:spPr>
      </p:pic>
      <p:sp>
        <p:nvSpPr>
          <p:cNvPr id="3" name="Oval 2"/>
          <p:cNvSpPr/>
          <p:nvPr userDrawn="1"/>
        </p:nvSpPr>
        <p:spPr>
          <a:xfrm>
            <a:off x="1130303" y="-863733"/>
            <a:ext cx="6813971" cy="6813971"/>
          </a:xfrm>
          <a:prstGeom prst="ellipse">
            <a:avLst/>
          </a:prstGeom>
          <a:noFill/>
          <a:ln w="76200">
            <a:gradFill>
              <a:gsLst>
                <a:gs pos="74000">
                  <a:srgbClr val="2CA5B1"/>
                </a:gs>
                <a:gs pos="20000">
                  <a:srgbClr val="12A7C5"/>
                </a:gs>
                <a:gs pos="50000">
                  <a:srgbClr val="46A29D"/>
                </a:gs>
              </a:gsLst>
              <a:lin ang="5400000" scaled="1"/>
            </a:gradFill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80000"/>
              </a:lnSpc>
            </a:pPr>
            <a:endParaRPr lang="en-US" sz="1350">
              <a:solidFill>
                <a:srgbClr val="000000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9663" y="-58909"/>
            <a:ext cx="5779008" cy="2889504"/>
          </a:xfrm>
          <a:prstGeom prst="rect">
            <a:avLst/>
          </a:prstGeom>
        </p:spPr>
      </p:pic>
      <p:sp>
        <p:nvSpPr>
          <p:cNvPr id="14" name="Text Box 14"/>
          <p:cNvSpPr txBox="1">
            <a:spLocks noChangeArrowheads="1"/>
          </p:cNvSpPr>
          <p:nvPr userDrawn="1"/>
        </p:nvSpPr>
        <p:spPr bwMode="auto">
          <a:xfrm>
            <a:off x="3098008" y="4906201"/>
            <a:ext cx="2947988" cy="11657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algn="ctr" defTabSz="457154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75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17 MARS, INCORPORATED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8271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4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944" y="-15335"/>
            <a:ext cx="8967223" cy="78478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92334"/>
            <a:ext cx="8261350" cy="1451166"/>
          </a:xfrm>
          <a:prstGeom prst="rect">
            <a:avLst/>
          </a:prstGeom>
        </p:spPr>
        <p:txBody>
          <a:bodyPr/>
          <a:lstStyle>
            <a:lvl1pPr marL="227001" indent="-22700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61939" indent="-206365">
              <a:lnSpc>
                <a:spcPct val="85000"/>
              </a:lnSpc>
              <a:spcAft>
                <a:spcPts val="600"/>
              </a:spcAft>
              <a:buClr>
                <a:schemeClr val="bg1"/>
              </a:buClr>
              <a:defRPr sz="18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744502" indent="-163505">
              <a:defRPr lang="en-US" sz="1600" i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788135" indent="0">
              <a:buClr>
                <a:schemeClr val="bg1"/>
              </a:buClr>
              <a:buFont typeface="Arial" panose="020B0604020202020204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141357" indent="-146042"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685749" marR="0" lvl="2" indent="-103577" algn="l" defTabSz="914333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664" marR="0" lvl="3" indent="-109529" algn="l" defTabSz="914333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9473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tl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944" y="-15335"/>
            <a:ext cx="8967223" cy="78478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8" y="992334"/>
            <a:ext cx="4293277" cy="1451166"/>
          </a:xfrm>
          <a:prstGeom prst="rect">
            <a:avLst/>
          </a:prstGeom>
        </p:spPr>
        <p:txBody>
          <a:bodyPr/>
          <a:lstStyle>
            <a:lvl1pPr marL="227001" indent="-22700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61939" indent="-206365">
              <a:lnSpc>
                <a:spcPct val="85000"/>
              </a:lnSpc>
              <a:spcAft>
                <a:spcPts val="600"/>
              </a:spcAft>
              <a:buClr>
                <a:schemeClr val="bg1"/>
              </a:buClr>
              <a:defRPr sz="18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744502" indent="-163505">
              <a:defRPr lang="en-US" sz="1600" i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788135" indent="0">
              <a:buClr>
                <a:schemeClr val="bg1"/>
              </a:buClr>
              <a:buFont typeface="Arial" panose="020B0604020202020204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141357" indent="-146042"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685749" marR="0" lvl="2" indent="-103577" algn="l" defTabSz="914333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664" marR="0" lvl="3" indent="-109529" algn="l" defTabSz="914333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495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944" y="-15335"/>
            <a:ext cx="8967223" cy="78478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781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647"/>
            <a:ext cx="9144000" cy="51435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1"/>
            <a:ext cx="9144000" cy="801584"/>
          </a:xfrm>
          <a:prstGeom prst="rect">
            <a:avLst/>
          </a:prstGeom>
          <a:gradFill flip="none" rotWithShape="1">
            <a:gsLst>
              <a:gs pos="69000">
                <a:schemeClr val="accent2">
                  <a:alpha val="25000"/>
                </a:schemeClr>
              </a:gs>
              <a:gs pos="30000">
                <a:schemeClr val="accent2">
                  <a:alpha val="49000"/>
                </a:schemeClr>
              </a:gs>
              <a:gs pos="0">
                <a:schemeClr val="accent2">
                  <a:alpha val="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66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944" y="-15335"/>
            <a:ext cx="8967223" cy="78478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55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D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15901" y="195264"/>
            <a:ext cx="8784592" cy="432271"/>
          </a:xfrm>
        </p:spPr>
        <p:txBody>
          <a:bodyPr/>
          <a:lstStyle>
            <a:lvl1pPr marL="0" indent="0">
              <a:buNone/>
              <a:defRPr sz="1600" b="1" i="0"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692EFC28-5AFD-4C46-86F9-FF467341A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5942" y="4860293"/>
            <a:ext cx="355997" cy="273844"/>
          </a:xfr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77599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F2552AB6-7D21-40BC-AF9E-1B598FC6E74E}" type="datetime1">
              <a:rPr lang="en-CA" smtClean="0">
                <a:solidFill>
                  <a:prstClr val="black">
                    <a:tint val="75000"/>
                  </a:prstClr>
                </a:solidFill>
              </a:rPr>
              <a:pPr defTabSz="685800"/>
              <a:t>2020-06-12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en-CA">
                <a:solidFill>
                  <a:prstClr val="black">
                    <a:tint val="75000"/>
                  </a:prstClr>
                </a:solidFill>
              </a:rPr>
              <a:t>COPYRIGHT </a:t>
            </a:r>
            <a:r>
              <a:rPr lang="sk-SK">
                <a:solidFill>
                  <a:prstClr val="black">
                    <a:tint val="75000"/>
                  </a:prstClr>
                </a:solidFill>
              </a:rPr>
              <a:t>© 2018 </a:t>
            </a:r>
            <a:r>
              <a:rPr lang="en-CA">
                <a:solidFill>
                  <a:prstClr val="black">
                    <a:tint val="75000"/>
                  </a:prstClr>
                </a:solidFill>
              </a:rPr>
              <a:t>MARS INCORPORATED |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B8A89-AE5B-4A7A-ABF7-B35292E08C39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776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6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3938587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5800" indent="-103585">
              <a:lnSpc>
                <a:spcPct val="85000"/>
              </a:lnSpc>
              <a:spcAft>
                <a:spcPts val="600"/>
              </a:spcAft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buClr>
                <a:schemeClr val="accent1"/>
              </a:buClr>
              <a:buFont typeface="Arial" pitchFamily="34" charset="0"/>
              <a:buChar char="–"/>
              <a:defRPr sz="1100">
                <a:latin typeface="Calibri" panose="020F0502020204030204" pitchFamily="34" charset="0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0" y="916134"/>
            <a:ext cx="4184650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67965" indent="-285750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685800" indent="-103585">
              <a:defRPr lang="en-US" sz="11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  <a:tabLst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6477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34390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A20D6FEF-DA60-DC45-9BED-F0393191129B}" type="datetimeFigureOut">
              <a:rPr lang="en-US" smtClean="0"/>
              <a:t>6/1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2F55F5-8149-9B45-821D-39E0728AB0A4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 descr="D:\MWC PROJECTS\MARS INC\4157 Leadership Summit 2014\assets\Leadership Summit Background Dots blu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78865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eaker or 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D:\MWC PROJECTS\MARS INC\4157 Leadership Summit 2014\assets\Leadership Summit Background Dots PINK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77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7" name="Picture 6" descr="colorsFinal-2.png"/>
          <p:cNvPicPr>
            <a:picLocks noChangeAspect="1"/>
          </p:cNvPicPr>
          <p:nvPr userDrawn="1"/>
        </p:nvPicPr>
        <p:blipFill rotWithShape="1">
          <a:blip r:embed="rId3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797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reaker or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H="1">
            <a:off x="0" y="-8238"/>
            <a:ext cx="9144000" cy="5140411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9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4" name="Picture 3" descr="colorsFinal-2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71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8261350" cy="3594100"/>
          </a:xfrm>
          <a:prstGeom prst="rect">
            <a:avLst/>
          </a:prstGeom>
        </p:spPr>
        <p:txBody>
          <a:bodyPr/>
          <a:lstStyle>
            <a:lvl1pPr marL="127397" indent="-127397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1600">
                <a:latin typeface="Calibri" panose="020F0502020204030204" pitchFamily="34" charset="0"/>
              </a:defRPr>
            </a:lvl1pPr>
            <a:lvl2pPr>
              <a:lnSpc>
                <a:spcPct val="85000"/>
              </a:lnSpc>
              <a:spcAft>
                <a:spcPts val="600"/>
              </a:spcAft>
              <a:buClr>
                <a:schemeClr val="tx1"/>
              </a:buClr>
              <a:defRPr sz="1400">
                <a:latin typeface="Calibri" panose="020F0502020204030204" pitchFamily="34" charset="0"/>
              </a:defRPr>
            </a:lvl2pPr>
            <a:lvl3pPr marL="685800" indent="-103585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defRPr lang="en-US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2839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84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eaker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 descr="D:\MWC PROJECTS\MARS INC\4157 Leadership Summit 2014\assets\Leadership Summit Background Dots dk blue brighter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 flipV="1"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77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10" name="Picture 9" descr="colorsFinal-2.png"/>
          <p:cNvPicPr>
            <a:picLocks noChangeAspect="1"/>
          </p:cNvPicPr>
          <p:nvPr userDrawn="1"/>
        </p:nvPicPr>
        <p:blipFill rotWithShape="1">
          <a:blip r:embed="rId3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0500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3938587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5800" indent="-103585">
              <a:lnSpc>
                <a:spcPct val="85000"/>
              </a:lnSpc>
              <a:spcAft>
                <a:spcPts val="600"/>
              </a:spcAft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buClr>
                <a:schemeClr val="accent1"/>
              </a:buClr>
              <a:buFont typeface="Arial" pitchFamily="34" charset="0"/>
              <a:buChar char="–"/>
              <a:defRPr sz="1100">
                <a:latin typeface="Calibri" panose="020F0502020204030204" pitchFamily="34" charset="0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0" y="916134"/>
            <a:ext cx="4184650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67965" indent="-285750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685800" indent="-103585">
              <a:defRPr lang="en-US" sz="11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  <a:tabLst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2307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6869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MWC PROJECTS\MARS INC\4157 Leadership Summit 2014\assets\Leadership Summit Background Dots PINK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3482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eaker or 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MWC PROJECTS\MARS INC\4157 Leadership Summit 2014\Interbrand (&amp;) and details\Mars&amp;_logo-01 wt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56713" y="4528458"/>
            <a:ext cx="1481710" cy="491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D:\MWC PROJECTS\MARS INC\4157 Leadership Summit 2014\assets\Leadership Summit Background Dots ls.jp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77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5" name="Picture 4" descr="colorsFinal-2.png"/>
          <p:cNvPicPr>
            <a:picLocks noChangeAspect="1"/>
          </p:cNvPicPr>
          <p:nvPr userDrawn="1"/>
        </p:nvPicPr>
        <p:blipFill rotWithShape="1">
          <a:blip r:embed="rId4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5893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reaker or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H="1">
            <a:off x="0" y="-8238"/>
            <a:ext cx="9144000" cy="5140411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9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4" name="Picture 3" descr="colorsFinal-2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83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8261350" cy="3594100"/>
          </a:xfrm>
          <a:prstGeom prst="rect">
            <a:avLst/>
          </a:prstGeom>
        </p:spPr>
        <p:txBody>
          <a:bodyPr/>
          <a:lstStyle>
            <a:lvl1pPr marL="127397" indent="-127397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1600">
                <a:latin typeface="Calibri" panose="020F0502020204030204" pitchFamily="34" charset="0"/>
              </a:defRPr>
            </a:lvl1pPr>
            <a:lvl2pPr>
              <a:lnSpc>
                <a:spcPct val="85000"/>
              </a:lnSpc>
              <a:spcAft>
                <a:spcPts val="600"/>
              </a:spcAft>
              <a:buClr>
                <a:schemeClr val="tx1"/>
              </a:buClr>
              <a:defRPr sz="1400">
                <a:latin typeface="Calibri" panose="020F0502020204030204" pitchFamily="34" charset="0"/>
              </a:defRPr>
            </a:lvl2pPr>
            <a:lvl3pPr marL="685800" indent="-103585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defRPr lang="en-US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2807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3789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3938587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5800" indent="-103585">
              <a:lnSpc>
                <a:spcPct val="85000"/>
              </a:lnSpc>
              <a:spcAft>
                <a:spcPts val="600"/>
              </a:spcAft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buClr>
                <a:schemeClr val="accent1"/>
              </a:buClr>
              <a:buFont typeface="Arial" pitchFamily="34" charset="0"/>
              <a:buChar char="–"/>
              <a:defRPr sz="1100">
                <a:latin typeface="Calibri" panose="020F0502020204030204" pitchFamily="34" charset="0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0" y="916134"/>
            <a:ext cx="4184650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67965" indent="-285750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685800" indent="-103585">
              <a:defRPr lang="en-US" sz="11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  <a:tabLst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53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35090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A20D6FEF-DA60-DC45-9BED-F0393191129B}" type="datetimeFigureOut">
              <a:rPr lang="en-US" smtClean="0"/>
              <a:t>6/1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2F55F5-8149-9B45-821D-39E0728AB0A4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 descr="D:\MWC PROJECTS\MARS INC\4157 Leadership Summit 2014\assets\Leadership Summit Background Dots ls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7339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reaker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H="1">
            <a:off x="0" y="-8238"/>
            <a:ext cx="9144000" cy="5140411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9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5" name="Picture 4" descr="colorsFinal-2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7713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eaker or 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D:\MWC PROJECTS\MARS INC\4157 Leadership Summit 2014\assets\Leadership Summit Background Dots ls orang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77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7" name="Picture 6" descr="colorsFinal-2.png"/>
          <p:cNvPicPr>
            <a:picLocks noChangeAspect="1"/>
          </p:cNvPicPr>
          <p:nvPr userDrawn="1"/>
        </p:nvPicPr>
        <p:blipFill rotWithShape="1">
          <a:blip r:embed="rId3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539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reaker or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H="1">
            <a:off x="0" y="-8238"/>
            <a:ext cx="9144000" cy="5140411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9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4" name="Picture 3" descr="colorsFinal-2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>
                <a:solidFill>
                  <a:schemeClr val="accent6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6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890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8261350" cy="3594100"/>
          </a:xfrm>
          <a:prstGeom prst="rect">
            <a:avLst/>
          </a:prstGeom>
        </p:spPr>
        <p:txBody>
          <a:bodyPr/>
          <a:lstStyle>
            <a:lvl1pPr marL="127397" indent="-127397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1600">
                <a:latin typeface="Calibri" panose="020F0502020204030204" pitchFamily="34" charset="0"/>
              </a:defRPr>
            </a:lvl1pPr>
            <a:lvl2pPr>
              <a:lnSpc>
                <a:spcPct val="85000"/>
              </a:lnSpc>
              <a:spcAft>
                <a:spcPts val="600"/>
              </a:spcAft>
              <a:buClr>
                <a:schemeClr val="tx1"/>
              </a:buClr>
              <a:defRPr sz="1400">
                <a:latin typeface="Calibri" panose="020F0502020204030204" pitchFamily="34" charset="0"/>
              </a:defRPr>
            </a:lvl2pPr>
            <a:lvl3pPr marL="685800" indent="-103585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defRPr lang="en-US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7330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027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3938587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5800" indent="-103585">
              <a:lnSpc>
                <a:spcPct val="85000"/>
              </a:lnSpc>
              <a:spcAft>
                <a:spcPts val="600"/>
              </a:spcAft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buClr>
                <a:schemeClr val="accent1"/>
              </a:buClr>
              <a:buFont typeface="Arial" pitchFamily="34" charset="0"/>
              <a:buChar char="–"/>
              <a:defRPr sz="1100">
                <a:latin typeface="Calibri" panose="020F0502020204030204" pitchFamily="34" charset="0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0" y="916134"/>
            <a:ext cx="4184650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67965" indent="-285750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685800" indent="-103585">
              <a:defRPr lang="en-US" sz="11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  <a:tabLst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741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70227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2" descr="D:\MWC PROJECTS\MARS INC\4157 Leadership Summit 2014\assets\Leadership Summit Background Dots ls orang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9123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eaker or 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D:\MWC PROJECTS\MARS INC\4157 Leadership Summit 2014\assets\Leadership Summit Background Dots purpl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77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8" name="Picture 7" descr="colorsFinal-2.png"/>
          <p:cNvPicPr>
            <a:picLocks noChangeAspect="1"/>
          </p:cNvPicPr>
          <p:nvPr userDrawn="1"/>
        </p:nvPicPr>
        <p:blipFill rotWithShape="1">
          <a:blip r:embed="rId3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840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reaker or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H="1">
            <a:off x="0" y="-8238"/>
            <a:ext cx="9144000" cy="5140411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9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5A1E64"/>
                </a:solidFill>
              </a:defRPr>
            </a:lvl1pPr>
          </a:lstStyle>
          <a:p>
            <a:endParaRPr lang="en-US"/>
          </a:p>
        </p:txBody>
      </p:sp>
      <p:pic>
        <p:nvPicPr>
          <p:cNvPr id="8" name="Picture 7" descr="colorsFinal-2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101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8261350" cy="3594100"/>
          </a:xfrm>
          <a:prstGeom prst="rect">
            <a:avLst/>
          </a:prstGeom>
        </p:spPr>
        <p:txBody>
          <a:bodyPr/>
          <a:lstStyle>
            <a:lvl1pPr marL="127397" indent="-127397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1600">
                <a:latin typeface="Calibri" panose="020F0502020204030204" pitchFamily="34" charset="0"/>
              </a:defRPr>
            </a:lvl1pPr>
            <a:lvl2pPr>
              <a:lnSpc>
                <a:spcPct val="85000"/>
              </a:lnSpc>
              <a:spcAft>
                <a:spcPts val="600"/>
              </a:spcAft>
              <a:buClr>
                <a:schemeClr val="tx1"/>
              </a:buClr>
              <a:defRPr sz="1400">
                <a:latin typeface="Calibri" panose="020F0502020204030204" pitchFamily="34" charset="0"/>
              </a:defRPr>
            </a:lvl2pPr>
            <a:lvl3pPr marL="685800" indent="-103585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defRPr lang="en-US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070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8261350" cy="3594100"/>
          </a:xfrm>
          <a:prstGeom prst="rect">
            <a:avLst/>
          </a:prstGeom>
        </p:spPr>
        <p:txBody>
          <a:bodyPr/>
          <a:lstStyle>
            <a:lvl1pPr marL="127397" indent="-127397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1600">
                <a:latin typeface="Calibri" panose="020F0502020204030204" pitchFamily="34" charset="0"/>
              </a:defRPr>
            </a:lvl1pPr>
            <a:lvl2pPr>
              <a:lnSpc>
                <a:spcPct val="85000"/>
              </a:lnSpc>
              <a:spcAft>
                <a:spcPts val="600"/>
              </a:spcAft>
              <a:buClr>
                <a:schemeClr val="tx1"/>
              </a:buClr>
              <a:defRPr sz="1400">
                <a:latin typeface="Calibri" panose="020F0502020204030204" pitchFamily="34" charset="0"/>
              </a:defRPr>
            </a:lvl2pPr>
            <a:lvl3pPr marL="685800" indent="-103585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defRPr lang="en-US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989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83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3938587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5800" indent="-103585">
              <a:lnSpc>
                <a:spcPct val="85000"/>
              </a:lnSpc>
              <a:spcAft>
                <a:spcPts val="600"/>
              </a:spcAft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buClr>
                <a:schemeClr val="accent1"/>
              </a:buClr>
              <a:buFont typeface="Arial" pitchFamily="34" charset="0"/>
              <a:buChar char="–"/>
              <a:defRPr sz="1100">
                <a:latin typeface="Calibri" panose="020F0502020204030204" pitchFamily="34" charset="0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0" y="916134"/>
            <a:ext cx="4184650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67965" indent="-285750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685800" indent="-103585">
              <a:defRPr lang="en-US" sz="11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  <a:tabLst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8553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85941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2" descr="D:\MWC PROJECTS\MARS INC\4157 Leadership Summit 2014\assets\Leadership Summit Background Dots purpl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31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+ SubTitle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2" name="Round Same Side Corner Rectangle 21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772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411849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6381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49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738694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 Same Side Corner Rectangle 4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Down Arrow Callout 17"/>
          <p:cNvSpPr/>
          <p:nvPr userDrawn="1"/>
        </p:nvSpPr>
        <p:spPr bwMode="auto">
          <a:xfrm>
            <a:off x="0" y="0"/>
            <a:ext cx="9144000" cy="2529116"/>
          </a:xfrm>
          <a:prstGeom prst="downArrowCallout">
            <a:avLst>
              <a:gd name="adj1" fmla="val 32676"/>
              <a:gd name="adj2" fmla="val 14109"/>
              <a:gd name="adj3" fmla="val 10498"/>
              <a:gd name="adj4" fmla="val 92638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749377" y="466776"/>
            <a:ext cx="1645246" cy="1644754"/>
          </a:xfrm>
          <a:prstGeom prst="ellips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4256985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1" grpId="0" animBg="1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WW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9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777805" y="1105463"/>
            <a:ext cx="1425007" cy="1529068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6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317802" y="1105463"/>
            <a:ext cx="1425007" cy="1529068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3857799" y="1105463"/>
            <a:ext cx="1425007" cy="1529068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5401191" y="1105463"/>
            <a:ext cx="1425007" cy="1529068"/>
          </a:xfrm>
          <a:prstGeom prst="rect">
            <a:avLst/>
          </a:prstGeom>
          <a:ln w="19050">
            <a:solidFill>
              <a:schemeClr val="accent4"/>
            </a:solidFill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9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6941188" y="1105463"/>
            <a:ext cx="1425007" cy="1529068"/>
          </a:xfrm>
          <a:prstGeom prst="rect">
            <a:avLst/>
          </a:prstGeom>
          <a:ln w="19050">
            <a:solidFill>
              <a:schemeClr val="accent5"/>
            </a:solidFill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9752098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animBg="1"/>
      <p:bldP spid="46" grpId="0" animBg="1"/>
      <p:bldP spid="47" grpId="0" animBg="1"/>
      <p:bldP spid="48" grpId="0" animBg="1"/>
      <p:bldP spid="49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434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3"/>
          <p:cNvSpPr>
            <a:spLocks noGrp="1"/>
          </p:cNvSpPr>
          <p:nvPr>
            <p:ph type="body" sz="half" idx="16"/>
          </p:nvPr>
        </p:nvSpPr>
        <p:spPr>
          <a:xfrm>
            <a:off x="867991" y="3001502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867991" y="1472626"/>
            <a:ext cx="1421516" cy="1421092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15"/>
          </p:nvPr>
        </p:nvSpPr>
        <p:spPr>
          <a:xfrm>
            <a:off x="727168" y="3414419"/>
            <a:ext cx="1703163" cy="9233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17"/>
          </p:nvPr>
        </p:nvSpPr>
        <p:spPr>
          <a:xfrm>
            <a:off x="2822643" y="3001502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4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822643" y="1472626"/>
            <a:ext cx="1421516" cy="1421092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half" idx="19"/>
          </p:nvPr>
        </p:nvSpPr>
        <p:spPr>
          <a:xfrm>
            <a:off x="2681820" y="3414419"/>
            <a:ext cx="1703163" cy="9233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Text Placeholder 3"/>
          <p:cNvSpPr>
            <a:spLocks noGrp="1"/>
          </p:cNvSpPr>
          <p:nvPr>
            <p:ph type="body" sz="half" idx="20"/>
          </p:nvPr>
        </p:nvSpPr>
        <p:spPr>
          <a:xfrm>
            <a:off x="4829092" y="3001502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7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4829092" y="1472626"/>
            <a:ext cx="1421516" cy="1421092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half" idx="22"/>
          </p:nvPr>
        </p:nvSpPr>
        <p:spPr>
          <a:xfrm>
            <a:off x="4688269" y="3414419"/>
            <a:ext cx="1703163" cy="9233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Text Placeholder 3"/>
          <p:cNvSpPr>
            <a:spLocks noGrp="1"/>
          </p:cNvSpPr>
          <p:nvPr>
            <p:ph type="body" sz="half" idx="23"/>
          </p:nvPr>
        </p:nvSpPr>
        <p:spPr>
          <a:xfrm>
            <a:off x="6835350" y="3001502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40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6835350" y="1472626"/>
            <a:ext cx="1421516" cy="1421092"/>
          </a:xfrm>
          <a:prstGeom prst="ellipse">
            <a:avLst/>
          </a:prstGeom>
          <a:ln w="28575">
            <a:solidFill>
              <a:schemeClr val="accent4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half" idx="25"/>
          </p:nvPr>
        </p:nvSpPr>
        <p:spPr>
          <a:xfrm>
            <a:off x="6694527" y="3414419"/>
            <a:ext cx="1703163" cy="9233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992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500"/>
                            </p:stCondLst>
                            <p:childTnLst>
                              <p:par>
                                <p:cTn id="5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0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500"/>
                            </p:stCondLst>
                            <p:childTnLst>
                              <p:par>
                                <p:cTn id="6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animBg="1"/>
      <p:bldP spid="3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animBg="1"/>
      <p:bldP spid="3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Line buttom"/>
          <p:cNvCxnSpPr/>
          <p:nvPr userDrawn="1"/>
        </p:nvCxnSpPr>
        <p:spPr>
          <a:xfrm>
            <a:off x="685800" y="2831403"/>
            <a:ext cx="77724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/>
          <p:cNvSpPr/>
          <p:nvPr userDrawn="1"/>
        </p:nvSpPr>
        <p:spPr>
          <a:xfrm>
            <a:off x="1464269" y="2741595"/>
            <a:ext cx="179616" cy="179616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accent1">
                  <a:lumMod val="75000"/>
                </a:schemeClr>
              </a:solidFill>
              <a:latin typeface="FontAwesome" pitchFamily="2" charset="0"/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3460212" y="2740007"/>
            <a:ext cx="179616" cy="179616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accent2">
                  <a:lumMod val="50000"/>
                </a:schemeClr>
              </a:solidFill>
              <a:latin typeface="FontAwesome" pitchFamily="2" charset="0"/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5456155" y="2741595"/>
            <a:ext cx="179616" cy="179616"/>
          </a:xfrm>
          <a:prstGeom prst="ellipse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accent3">
                  <a:lumMod val="75000"/>
                </a:schemeClr>
              </a:solidFill>
              <a:latin typeface="FontAwesome" pitchFamily="2" charset="0"/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7452097" y="2741595"/>
            <a:ext cx="179616" cy="179616"/>
          </a:xfrm>
          <a:prstGeom prst="ellipse">
            <a:avLst/>
          </a:prstGeom>
          <a:solidFill>
            <a:schemeClr val="accent4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0" rtlCol="0" anchor="ctr"/>
          <a:lstStyle/>
          <a:p>
            <a:pPr algn="ctr"/>
            <a:endParaRPr lang="en-US" sz="2400">
              <a:solidFill>
                <a:schemeClr val="accent4">
                  <a:lumMod val="75000"/>
                </a:schemeClr>
              </a:solidFill>
              <a:latin typeface="FontAwesome" pitchFamily="2" charset="0"/>
            </a:endParaRPr>
          </a:p>
        </p:txBody>
      </p:sp>
      <p:sp>
        <p:nvSpPr>
          <p:cNvPr id="19" name="Up Arrow Callout 18"/>
          <p:cNvSpPr/>
          <p:nvPr/>
        </p:nvSpPr>
        <p:spPr>
          <a:xfrm flipV="1">
            <a:off x="2670469" y="1343546"/>
            <a:ext cx="1768646" cy="1358849"/>
          </a:xfrm>
          <a:prstGeom prst="upArrowCallout">
            <a:avLst>
              <a:gd name="adj1" fmla="val 30842"/>
              <a:gd name="adj2" fmla="val 15421"/>
              <a:gd name="adj3" fmla="val 12155"/>
              <a:gd name="adj4" fmla="val 89716"/>
            </a:avLst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Picture Placeholder 7"/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954616" y="1472626"/>
            <a:ext cx="1177872" cy="1177521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bIns="91440" anchor="b"/>
          <a:lstStyle>
            <a:lvl1pPr algn="ct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half" idx="16"/>
          </p:nvPr>
        </p:nvSpPr>
        <p:spPr>
          <a:xfrm>
            <a:off x="2844034" y="1426210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0" name="Text Placeholder 3"/>
          <p:cNvSpPr>
            <a:spLocks noGrp="1"/>
          </p:cNvSpPr>
          <p:nvPr>
            <p:ph type="body" sz="half" idx="15"/>
          </p:nvPr>
        </p:nvSpPr>
        <p:spPr>
          <a:xfrm>
            <a:off x="2703211" y="1781675"/>
            <a:ext cx="1703163" cy="64524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Up Arrow Callout 30"/>
          <p:cNvSpPr/>
          <p:nvPr userDrawn="1"/>
        </p:nvSpPr>
        <p:spPr>
          <a:xfrm flipV="1">
            <a:off x="6631804" y="1343546"/>
            <a:ext cx="1768646" cy="1358849"/>
          </a:xfrm>
          <a:prstGeom prst="upArrowCallout">
            <a:avLst>
              <a:gd name="adj1" fmla="val 30842"/>
              <a:gd name="adj2" fmla="val 15421"/>
              <a:gd name="adj3" fmla="val 12155"/>
              <a:gd name="adj4" fmla="val 89716"/>
            </a:avLst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17"/>
          </p:nvPr>
        </p:nvSpPr>
        <p:spPr>
          <a:xfrm>
            <a:off x="6805369" y="1426210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18"/>
          </p:nvPr>
        </p:nvSpPr>
        <p:spPr>
          <a:xfrm>
            <a:off x="6664546" y="1779065"/>
            <a:ext cx="1703163" cy="64524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4" name="Up Arrow Callout 33"/>
          <p:cNvSpPr/>
          <p:nvPr userDrawn="1"/>
        </p:nvSpPr>
        <p:spPr>
          <a:xfrm>
            <a:off x="666550" y="2997808"/>
            <a:ext cx="1768646" cy="1358849"/>
          </a:xfrm>
          <a:prstGeom prst="upArrowCallout">
            <a:avLst>
              <a:gd name="adj1" fmla="val 30842"/>
              <a:gd name="adj2" fmla="val 15421"/>
              <a:gd name="adj3" fmla="val 12155"/>
              <a:gd name="adj4" fmla="val 89716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half" idx="19"/>
          </p:nvPr>
        </p:nvSpPr>
        <p:spPr>
          <a:xfrm>
            <a:off x="840115" y="3258874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1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6" name="Text Placeholder 3"/>
          <p:cNvSpPr>
            <a:spLocks noGrp="1"/>
          </p:cNvSpPr>
          <p:nvPr>
            <p:ph type="body" sz="half" idx="20"/>
          </p:nvPr>
        </p:nvSpPr>
        <p:spPr>
          <a:xfrm>
            <a:off x="699292" y="3630979"/>
            <a:ext cx="1703163" cy="64524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1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7" name="Up Arrow Callout 36"/>
          <p:cNvSpPr/>
          <p:nvPr userDrawn="1"/>
        </p:nvSpPr>
        <p:spPr>
          <a:xfrm>
            <a:off x="4668082" y="2997808"/>
            <a:ext cx="1768646" cy="1358849"/>
          </a:xfrm>
          <a:prstGeom prst="upArrowCallout">
            <a:avLst>
              <a:gd name="adj1" fmla="val 30842"/>
              <a:gd name="adj2" fmla="val 15421"/>
              <a:gd name="adj3" fmla="val 12155"/>
              <a:gd name="adj4" fmla="val 89716"/>
            </a:avLst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/>
          </a:p>
        </p:txBody>
      </p:sp>
      <p:sp>
        <p:nvSpPr>
          <p:cNvPr id="38" name="Text Placeholder 3"/>
          <p:cNvSpPr>
            <a:spLocks noGrp="1"/>
          </p:cNvSpPr>
          <p:nvPr>
            <p:ph type="body" sz="half" idx="21"/>
          </p:nvPr>
        </p:nvSpPr>
        <p:spPr>
          <a:xfrm>
            <a:off x="4841647" y="3249249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1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9" name="Text Placeholder 3"/>
          <p:cNvSpPr>
            <a:spLocks noGrp="1"/>
          </p:cNvSpPr>
          <p:nvPr>
            <p:ph type="body" sz="half" idx="22"/>
          </p:nvPr>
        </p:nvSpPr>
        <p:spPr>
          <a:xfrm>
            <a:off x="4700824" y="3611729"/>
            <a:ext cx="1703163" cy="64524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1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Picture Placeholder 7"/>
          <p:cNvSpPr>
            <a:spLocks noGrp="1"/>
          </p:cNvSpPr>
          <p:nvPr>
            <p:ph type="pic" sz="quarter" idx="23" hasCustomPrompt="1"/>
          </p:nvPr>
        </p:nvSpPr>
        <p:spPr>
          <a:xfrm>
            <a:off x="2950283" y="3031329"/>
            <a:ext cx="1177872" cy="1177521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bIns="91440" anchor="b"/>
          <a:lstStyle>
            <a:lvl1pPr algn="ct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2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7042777" y="3031329"/>
            <a:ext cx="1177872" cy="1177521"/>
          </a:xfrm>
          <a:prstGeom prst="ellipse">
            <a:avLst/>
          </a:prstGeom>
          <a:ln w="28575">
            <a:solidFill>
              <a:schemeClr val="accent4"/>
            </a:solidFill>
          </a:ln>
        </p:spPr>
        <p:txBody>
          <a:bodyPr bIns="91440" anchor="b"/>
          <a:lstStyle>
            <a:lvl1pPr algn="ct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25" hasCustomPrompt="1"/>
          </p:nvPr>
        </p:nvSpPr>
        <p:spPr>
          <a:xfrm>
            <a:off x="4950585" y="1472626"/>
            <a:ext cx="1177872" cy="1177521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bIns="91440" anchor="b"/>
          <a:lstStyle>
            <a:lvl1pPr algn="ct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6" name="Round Same Side Corner Rectangle 45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049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0"/>
                            </p:stCondLst>
                            <p:childTnLst>
                              <p:par>
                                <p:cTn id="5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500"/>
                            </p:stCondLst>
                            <p:childTnLst>
                              <p:par>
                                <p:cTn id="6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000"/>
                            </p:stCondLst>
                            <p:childTnLst>
                              <p:par>
                                <p:cTn id="6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6500"/>
                            </p:stCondLst>
                            <p:childTnLst>
                              <p:par>
                                <p:cTn id="6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000"/>
                            </p:stCondLst>
                            <p:childTnLst>
                              <p:par>
                                <p:cTn id="7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7500"/>
                            </p:stCondLst>
                            <p:childTnLst>
                              <p:par>
                                <p:cTn id="8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8000"/>
                            </p:stCondLst>
                            <p:childTnLst>
                              <p:par>
                                <p:cTn id="8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8500"/>
                            </p:stCondLst>
                            <p:childTnLst>
                              <p:par>
                                <p:cTn id="9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3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9000"/>
                            </p:stCondLst>
                            <p:childTnLst>
                              <p:par>
                                <p:cTn id="9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9500"/>
                            </p:stCondLst>
                            <p:childTnLst>
                              <p:par>
                                <p:cTn id="10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7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1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5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11000"/>
                            </p:stCondLst>
                            <p:childTnLst>
                              <p:par>
                                <p:cTn id="11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9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9" grpId="0" animBg="1"/>
      <p:bldP spid="25" grpId="0" animBg="1"/>
      <p:bldP spid="2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animBg="1"/>
      <p:bldP spid="3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animBg="1"/>
      <p:bldP spid="3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animBg="1"/>
      <p:bldP spid="42" grpId="0" animBg="1"/>
      <p:bldP spid="43" grpId="0" animBg="1"/>
      <p:bldP spid="44" grpId="0"/>
      <p:bldP spid="4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6"/>
          </p:nvPr>
        </p:nvSpPr>
        <p:spPr>
          <a:xfrm>
            <a:off x="1275292" y="3479783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069342" y="1565900"/>
            <a:ext cx="1833416" cy="1832870"/>
          </a:xfrm>
          <a:prstGeom prst="diamond">
            <a:avLst/>
          </a:prstGeom>
          <a:ln w="28575">
            <a:solidFill>
              <a:schemeClr val="accent1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7"/>
          </p:nvPr>
        </p:nvSpPr>
        <p:spPr>
          <a:xfrm>
            <a:off x="2565267" y="1916565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359591" y="2327170"/>
            <a:ext cx="1833416" cy="1832870"/>
          </a:xfrm>
          <a:prstGeom prst="diamond">
            <a:avLst/>
          </a:prstGeom>
          <a:ln w="28575">
            <a:solidFill>
              <a:schemeClr val="accent2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3864376" y="3479783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3649840" y="1565900"/>
            <a:ext cx="1833416" cy="1832870"/>
          </a:xfrm>
          <a:prstGeom prst="diamond">
            <a:avLst/>
          </a:prstGeom>
          <a:ln w="28575">
            <a:solidFill>
              <a:schemeClr val="accent3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3"/>
          </p:nvPr>
        </p:nvSpPr>
        <p:spPr>
          <a:xfrm>
            <a:off x="5155576" y="1916565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4940089" y="2327170"/>
            <a:ext cx="1833416" cy="1832870"/>
          </a:xfrm>
          <a:prstGeom prst="diamond">
            <a:avLst/>
          </a:prstGeom>
          <a:ln w="28575">
            <a:solidFill>
              <a:schemeClr val="accent4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half" idx="25"/>
          </p:nvPr>
        </p:nvSpPr>
        <p:spPr>
          <a:xfrm>
            <a:off x="6436288" y="3479783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5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6230338" y="1565900"/>
            <a:ext cx="1833416" cy="1832870"/>
          </a:xfrm>
          <a:prstGeom prst="diamond">
            <a:avLst/>
          </a:prstGeom>
          <a:ln w="28575">
            <a:solidFill>
              <a:schemeClr val="accent5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064909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500"/>
                            </p:stCondLst>
                            <p:childTnLst>
                              <p:par>
                                <p:cTn id="5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animBg="1"/>
      <p:bldP spid="2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animBg="1"/>
      <p:bldP spid="2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animBg="1"/>
      <p:bldP spid="2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animBg="1"/>
      <p:bldP spid="4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52497" y="1057375"/>
            <a:ext cx="1861204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552498" y="2420957"/>
            <a:ext cx="1861204" cy="4209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 Placeholder 3"/>
          <p:cNvSpPr>
            <a:spLocks noGrp="1"/>
          </p:cNvSpPr>
          <p:nvPr>
            <p:ph type="body" sz="half" idx="16"/>
          </p:nvPr>
        </p:nvSpPr>
        <p:spPr>
          <a:xfrm>
            <a:off x="552498" y="2431025"/>
            <a:ext cx="1861204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4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2626099" y="1057375"/>
            <a:ext cx="1861204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0" name="Rectangle 49"/>
          <p:cNvSpPr/>
          <p:nvPr userDrawn="1"/>
        </p:nvSpPr>
        <p:spPr>
          <a:xfrm>
            <a:off x="2626100" y="2420957"/>
            <a:ext cx="1861204" cy="4209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 Placeholder 3"/>
          <p:cNvSpPr>
            <a:spLocks noGrp="1"/>
          </p:cNvSpPr>
          <p:nvPr>
            <p:ph type="body" sz="half" idx="18"/>
          </p:nvPr>
        </p:nvSpPr>
        <p:spPr>
          <a:xfrm>
            <a:off x="2626100" y="2431025"/>
            <a:ext cx="1861204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2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4683499" y="1057375"/>
            <a:ext cx="1861204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3" name="Rectangle 52"/>
          <p:cNvSpPr/>
          <p:nvPr userDrawn="1"/>
        </p:nvSpPr>
        <p:spPr>
          <a:xfrm>
            <a:off x="4683500" y="2420957"/>
            <a:ext cx="1861204" cy="42091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20"/>
          </p:nvPr>
        </p:nvSpPr>
        <p:spPr>
          <a:xfrm>
            <a:off x="4683500" y="2431025"/>
            <a:ext cx="1861204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5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6740899" y="1057375"/>
            <a:ext cx="1861204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6" name="Rectangle 55"/>
          <p:cNvSpPr/>
          <p:nvPr userDrawn="1"/>
        </p:nvSpPr>
        <p:spPr>
          <a:xfrm>
            <a:off x="6740900" y="2420957"/>
            <a:ext cx="1861204" cy="4209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22"/>
          </p:nvPr>
        </p:nvSpPr>
        <p:spPr>
          <a:xfrm>
            <a:off x="6740900" y="2431025"/>
            <a:ext cx="1861204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8" name="Picture Placeholder 7"/>
          <p:cNvSpPr>
            <a:spLocks noGrp="1"/>
          </p:cNvSpPr>
          <p:nvPr>
            <p:ph type="pic" sz="quarter" idx="23" hasCustomPrompt="1"/>
          </p:nvPr>
        </p:nvSpPr>
        <p:spPr>
          <a:xfrm>
            <a:off x="552497" y="2978480"/>
            <a:ext cx="1861204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9" name="Rectangle 58"/>
          <p:cNvSpPr/>
          <p:nvPr userDrawn="1"/>
        </p:nvSpPr>
        <p:spPr>
          <a:xfrm>
            <a:off x="552498" y="4342062"/>
            <a:ext cx="1861204" cy="42091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 Placeholder 3"/>
          <p:cNvSpPr>
            <a:spLocks noGrp="1"/>
          </p:cNvSpPr>
          <p:nvPr>
            <p:ph type="body" sz="half" idx="24"/>
          </p:nvPr>
        </p:nvSpPr>
        <p:spPr>
          <a:xfrm>
            <a:off x="552498" y="4352130"/>
            <a:ext cx="1861204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1" name="Picture Placeholder 7"/>
          <p:cNvSpPr>
            <a:spLocks noGrp="1"/>
          </p:cNvSpPr>
          <p:nvPr>
            <p:ph type="pic" sz="quarter" idx="25" hasCustomPrompt="1"/>
          </p:nvPr>
        </p:nvSpPr>
        <p:spPr>
          <a:xfrm>
            <a:off x="2626099" y="2978480"/>
            <a:ext cx="1861204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2" name="Rectangle 61"/>
          <p:cNvSpPr/>
          <p:nvPr userDrawn="1"/>
        </p:nvSpPr>
        <p:spPr>
          <a:xfrm>
            <a:off x="2626100" y="4342062"/>
            <a:ext cx="1861204" cy="4209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 Placeholder 3"/>
          <p:cNvSpPr>
            <a:spLocks noGrp="1"/>
          </p:cNvSpPr>
          <p:nvPr>
            <p:ph type="body" sz="half" idx="26"/>
          </p:nvPr>
        </p:nvSpPr>
        <p:spPr>
          <a:xfrm>
            <a:off x="2626100" y="4352130"/>
            <a:ext cx="1861204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4" name="Picture Placeholder 7"/>
          <p:cNvSpPr>
            <a:spLocks noGrp="1"/>
          </p:cNvSpPr>
          <p:nvPr>
            <p:ph type="pic" sz="quarter" idx="27" hasCustomPrompt="1"/>
          </p:nvPr>
        </p:nvSpPr>
        <p:spPr>
          <a:xfrm>
            <a:off x="4683499" y="2978480"/>
            <a:ext cx="1861204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5" name="Rectangle 64"/>
          <p:cNvSpPr/>
          <p:nvPr userDrawn="1"/>
        </p:nvSpPr>
        <p:spPr>
          <a:xfrm>
            <a:off x="4683500" y="4342062"/>
            <a:ext cx="1861204" cy="4209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Text Placeholder 3"/>
          <p:cNvSpPr>
            <a:spLocks noGrp="1"/>
          </p:cNvSpPr>
          <p:nvPr>
            <p:ph type="body" sz="half" idx="28"/>
          </p:nvPr>
        </p:nvSpPr>
        <p:spPr>
          <a:xfrm>
            <a:off x="4683500" y="4352130"/>
            <a:ext cx="1861204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7" name="Picture Placeholder 7"/>
          <p:cNvSpPr>
            <a:spLocks noGrp="1"/>
          </p:cNvSpPr>
          <p:nvPr>
            <p:ph type="pic" sz="quarter" idx="29" hasCustomPrompt="1"/>
          </p:nvPr>
        </p:nvSpPr>
        <p:spPr>
          <a:xfrm>
            <a:off x="6740899" y="2978480"/>
            <a:ext cx="1861204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8" name="Rectangle 67"/>
          <p:cNvSpPr/>
          <p:nvPr userDrawn="1"/>
        </p:nvSpPr>
        <p:spPr>
          <a:xfrm>
            <a:off x="6740900" y="4342062"/>
            <a:ext cx="1861204" cy="4209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 Placeholder 3"/>
          <p:cNvSpPr>
            <a:spLocks noGrp="1"/>
          </p:cNvSpPr>
          <p:nvPr>
            <p:ph type="body" sz="half" idx="30"/>
          </p:nvPr>
        </p:nvSpPr>
        <p:spPr>
          <a:xfrm>
            <a:off x="6740900" y="4352130"/>
            <a:ext cx="1861204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918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1000"/>
                            </p:stCondLst>
                            <p:childTnLst>
                              <p:par>
                                <p:cTn id="9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1500"/>
                            </p:stCondLst>
                            <p:childTnLst>
                              <p:par>
                                <p:cTn id="9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2500"/>
                            </p:stCondLst>
                            <p:childTnLst>
                              <p:par>
                                <p:cTn id="10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/>
      <p:bldP spid="17" grpId="0" animBg="1"/>
      <p:bldP spid="4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/>
      <p:bldP spid="50" grpId="0" animBg="1"/>
      <p:bldP spid="5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/>
      <p:bldP spid="53" grpId="0" animBg="1"/>
      <p:bldP spid="5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/>
      <p:bldP spid="56" grpId="0" animBg="1"/>
      <p:bldP spid="5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/>
      <p:bldP spid="59" grpId="0" animBg="1"/>
      <p:bldP spid="6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1" grpId="0"/>
      <p:bldP spid="62" grpId="0" animBg="1"/>
      <p:bldP spid="64" grpId="0"/>
      <p:bldP spid="65" grpId="0" animBg="1"/>
      <p:bldP spid="6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7" grpId="0"/>
      <p:bldP spid="68" grpId="0" animBg="1"/>
      <p:bldP spid="6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Rectangle 32"/>
          <p:cNvSpPr/>
          <p:nvPr userDrawn="1"/>
        </p:nvSpPr>
        <p:spPr>
          <a:xfrm>
            <a:off x="523775" y="2943008"/>
            <a:ext cx="1914644" cy="16861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 userDrawn="1"/>
        </p:nvSpPr>
        <p:spPr>
          <a:xfrm>
            <a:off x="523775" y="1189491"/>
            <a:ext cx="1914644" cy="16861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77215" y="1242330"/>
            <a:ext cx="1810424" cy="155630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3" name="Text Placeholder 3"/>
          <p:cNvSpPr>
            <a:spLocks noGrp="1"/>
          </p:cNvSpPr>
          <p:nvPr>
            <p:ph type="body" sz="half" idx="16"/>
          </p:nvPr>
        </p:nvSpPr>
        <p:spPr>
          <a:xfrm>
            <a:off x="770339" y="3068877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17"/>
          </p:nvPr>
        </p:nvSpPr>
        <p:spPr>
          <a:xfrm>
            <a:off x="629516" y="3443294"/>
            <a:ext cx="1703163" cy="108489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Rectangle 84"/>
          <p:cNvSpPr/>
          <p:nvPr userDrawn="1"/>
        </p:nvSpPr>
        <p:spPr>
          <a:xfrm>
            <a:off x="2587364" y="2943008"/>
            <a:ext cx="1914644" cy="16861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 userDrawn="1"/>
        </p:nvSpPr>
        <p:spPr>
          <a:xfrm>
            <a:off x="2587364" y="1189491"/>
            <a:ext cx="1914644" cy="16861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640804" y="1242330"/>
            <a:ext cx="1810424" cy="155630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8" name="Text Placeholder 3"/>
          <p:cNvSpPr>
            <a:spLocks noGrp="1"/>
          </p:cNvSpPr>
          <p:nvPr>
            <p:ph type="body" sz="half" idx="19"/>
          </p:nvPr>
        </p:nvSpPr>
        <p:spPr>
          <a:xfrm>
            <a:off x="2833928" y="3068877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89" name="Text Placeholder 3"/>
          <p:cNvSpPr>
            <a:spLocks noGrp="1"/>
          </p:cNvSpPr>
          <p:nvPr>
            <p:ph type="body" sz="half" idx="20"/>
          </p:nvPr>
        </p:nvSpPr>
        <p:spPr>
          <a:xfrm>
            <a:off x="2693105" y="3443294"/>
            <a:ext cx="1703163" cy="108489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0" name="Rectangle 89"/>
          <p:cNvSpPr/>
          <p:nvPr userDrawn="1"/>
        </p:nvSpPr>
        <p:spPr>
          <a:xfrm>
            <a:off x="4638575" y="2943008"/>
            <a:ext cx="1914644" cy="16861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/>
          <p:cNvSpPr/>
          <p:nvPr userDrawn="1"/>
        </p:nvSpPr>
        <p:spPr>
          <a:xfrm>
            <a:off x="4638575" y="1189491"/>
            <a:ext cx="1914644" cy="16861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4692015" y="1242330"/>
            <a:ext cx="1810424" cy="155630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93" name="Text Placeholder 3"/>
          <p:cNvSpPr>
            <a:spLocks noGrp="1"/>
          </p:cNvSpPr>
          <p:nvPr>
            <p:ph type="body" sz="half" idx="22"/>
          </p:nvPr>
        </p:nvSpPr>
        <p:spPr>
          <a:xfrm>
            <a:off x="4885139" y="3068877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4" name="Text Placeholder 3"/>
          <p:cNvSpPr>
            <a:spLocks noGrp="1"/>
          </p:cNvSpPr>
          <p:nvPr>
            <p:ph type="body" sz="half" idx="23"/>
          </p:nvPr>
        </p:nvSpPr>
        <p:spPr>
          <a:xfrm>
            <a:off x="4744316" y="3443294"/>
            <a:ext cx="1703163" cy="108489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5" name="Rectangle 94"/>
          <p:cNvSpPr/>
          <p:nvPr userDrawn="1"/>
        </p:nvSpPr>
        <p:spPr>
          <a:xfrm>
            <a:off x="6679006" y="2943008"/>
            <a:ext cx="1914644" cy="16861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Rectangle 95"/>
          <p:cNvSpPr/>
          <p:nvPr userDrawn="1"/>
        </p:nvSpPr>
        <p:spPr>
          <a:xfrm>
            <a:off x="6679006" y="1189491"/>
            <a:ext cx="1914644" cy="16861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6732446" y="1242330"/>
            <a:ext cx="1810424" cy="155630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98" name="Text Placeholder 3"/>
          <p:cNvSpPr>
            <a:spLocks noGrp="1"/>
          </p:cNvSpPr>
          <p:nvPr>
            <p:ph type="body" sz="half" idx="25"/>
          </p:nvPr>
        </p:nvSpPr>
        <p:spPr>
          <a:xfrm>
            <a:off x="6925570" y="3068877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9" name="Text Placeholder 3"/>
          <p:cNvSpPr>
            <a:spLocks noGrp="1"/>
          </p:cNvSpPr>
          <p:nvPr>
            <p:ph type="body" sz="half" idx="26"/>
          </p:nvPr>
        </p:nvSpPr>
        <p:spPr>
          <a:xfrm>
            <a:off x="6784747" y="3443294"/>
            <a:ext cx="1703163" cy="108489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211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3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5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500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animBg="1"/>
      <p:bldP spid="37" grpId="0" animBg="1"/>
      <p:bldP spid="80" grpId="0"/>
      <p:bldP spid="8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0" animBg="1"/>
      <p:bldP spid="86" grpId="0" animBg="1"/>
      <p:bldP spid="87" grpId="0"/>
      <p:bldP spid="8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0" grpId="0" animBg="1"/>
      <p:bldP spid="91" grpId="0" animBg="1"/>
      <p:bldP spid="92" grpId="0"/>
      <p:bldP spid="9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/>
      <p:bldP spid="96" grpId="0" animBg="1"/>
      <p:bldP spid="97" grpId="0"/>
      <p:bldP spid="9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3352800" y="1056575"/>
            <a:ext cx="2438400" cy="2437670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16"/>
          </p:nvPr>
        </p:nvSpPr>
        <p:spPr>
          <a:xfrm>
            <a:off x="741295" y="3770970"/>
            <a:ext cx="1421516" cy="381730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5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31"/>
          </p:nvPr>
        </p:nvSpPr>
        <p:spPr>
          <a:xfrm>
            <a:off x="2546030" y="4401350"/>
            <a:ext cx="1421516" cy="381730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32"/>
          </p:nvPr>
        </p:nvSpPr>
        <p:spPr>
          <a:xfrm>
            <a:off x="5124638" y="4401350"/>
            <a:ext cx="1421516" cy="381730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33"/>
          </p:nvPr>
        </p:nvSpPr>
        <p:spPr>
          <a:xfrm>
            <a:off x="6934188" y="3770970"/>
            <a:ext cx="1421516" cy="381730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half" idx="34"/>
          </p:nvPr>
        </p:nvSpPr>
        <p:spPr>
          <a:xfrm>
            <a:off x="3858125" y="3875210"/>
            <a:ext cx="1421516" cy="381730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505649" y="1808947"/>
            <a:ext cx="1892808" cy="1892243"/>
          </a:xfrm>
          <a:prstGeom prst="ellipse">
            <a:avLst/>
          </a:prstGeom>
          <a:ln w="28575">
            <a:solidFill>
              <a:schemeClr val="accent5"/>
            </a:solidFill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3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310384" y="2460982"/>
            <a:ext cx="1892808" cy="1892243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3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4888992" y="2460982"/>
            <a:ext cx="1892808" cy="1892243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3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6698542" y="1808947"/>
            <a:ext cx="1892808" cy="1892243"/>
          </a:xfrm>
          <a:prstGeom prst="ellipse">
            <a:avLst/>
          </a:prstGeom>
          <a:ln w="28575">
            <a:solidFill>
              <a:schemeClr val="accent6"/>
            </a:solidFill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938859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500"/>
                            </p:stCondLst>
                            <p:childTnLst>
                              <p:par>
                                <p:cTn id="5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/>
      <p:bldP spid="63" grpId="0" animBg="1"/>
      <p:bldP spid="73" grpId="0" animBg="1"/>
      <p:bldP spid="83" grpId="0" animBg="1"/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3"/>
          <p:cNvSpPr>
            <a:spLocks noGrp="1"/>
          </p:cNvSpPr>
          <p:nvPr>
            <p:ph type="body" sz="half" idx="16"/>
          </p:nvPr>
        </p:nvSpPr>
        <p:spPr>
          <a:xfrm>
            <a:off x="1725836" y="1453376"/>
            <a:ext cx="1388839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49487" y="1472627"/>
            <a:ext cx="1169764" cy="1169415"/>
          </a:xfrm>
          <a:prstGeom prst="teardrop">
            <a:avLst/>
          </a:prstGeom>
          <a:ln w="28575">
            <a:solidFill>
              <a:schemeClr val="accent1"/>
            </a:solidFill>
          </a:ln>
        </p:spPr>
        <p:txBody>
          <a:bodyPr bIns="182880" anchor="b"/>
          <a:lstStyle>
            <a:lvl1pPr algn="ct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15"/>
          </p:nvPr>
        </p:nvSpPr>
        <p:spPr>
          <a:xfrm>
            <a:off x="1725836" y="1866293"/>
            <a:ext cx="1388839" cy="85785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7" name="Text Placeholder 3"/>
          <p:cNvSpPr>
            <a:spLocks noGrp="1"/>
          </p:cNvSpPr>
          <p:nvPr>
            <p:ph type="body" sz="half" idx="17"/>
          </p:nvPr>
        </p:nvSpPr>
        <p:spPr>
          <a:xfrm>
            <a:off x="4486274" y="1453376"/>
            <a:ext cx="1388839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8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209925" y="1472627"/>
            <a:ext cx="1169764" cy="1169415"/>
          </a:xfrm>
          <a:prstGeom prst="teardrop">
            <a:avLst/>
          </a:prstGeom>
          <a:ln w="28575">
            <a:solidFill>
              <a:schemeClr val="accent2"/>
            </a:solidFill>
          </a:ln>
        </p:spPr>
        <p:txBody>
          <a:bodyPr bIns="182880" anchor="b"/>
          <a:lstStyle>
            <a:lvl1pPr algn="ct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9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86274" y="1866293"/>
            <a:ext cx="1388839" cy="85785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0" name="Text Placeholder 3"/>
          <p:cNvSpPr>
            <a:spLocks noGrp="1"/>
          </p:cNvSpPr>
          <p:nvPr>
            <p:ph type="body" sz="half" idx="20"/>
          </p:nvPr>
        </p:nvSpPr>
        <p:spPr>
          <a:xfrm>
            <a:off x="7248524" y="1453376"/>
            <a:ext cx="1388839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1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5972175" y="1472627"/>
            <a:ext cx="1169764" cy="1169415"/>
          </a:xfrm>
          <a:prstGeom prst="teardrop">
            <a:avLst/>
          </a:prstGeom>
          <a:ln w="28575">
            <a:solidFill>
              <a:schemeClr val="accent3"/>
            </a:solidFill>
          </a:ln>
        </p:spPr>
        <p:txBody>
          <a:bodyPr bIns="182880" anchor="b"/>
          <a:lstStyle>
            <a:lvl1pPr algn="ct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2" name="Text Placeholder 3"/>
          <p:cNvSpPr>
            <a:spLocks noGrp="1"/>
          </p:cNvSpPr>
          <p:nvPr>
            <p:ph type="body" sz="half" idx="22"/>
          </p:nvPr>
        </p:nvSpPr>
        <p:spPr>
          <a:xfrm>
            <a:off x="7248524" y="1866293"/>
            <a:ext cx="1388839" cy="85785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3" name="Text Placeholder 3"/>
          <p:cNvSpPr>
            <a:spLocks noGrp="1"/>
          </p:cNvSpPr>
          <p:nvPr>
            <p:ph type="body" sz="half" idx="23"/>
          </p:nvPr>
        </p:nvSpPr>
        <p:spPr>
          <a:xfrm>
            <a:off x="1725836" y="2987508"/>
            <a:ext cx="1388839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4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449487" y="3006759"/>
            <a:ext cx="1169764" cy="1169415"/>
          </a:xfrm>
          <a:prstGeom prst="teardrop">
            <a:avLst/>
          </a:prstGeom>
          <a:ln w="28575">
            <a:solidFill>
              <a:schemeClr val="accent4"/>
            </a:solidFill>
          </a:ln>
        </p:spPr>
        <p:txBody>
          <a:bodyPr bIns="182880" anchor="b"/>
          <a:lstStyle>
            <a:lvl1pPr algn="ct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5" name="Text Placeholder 3"/>
          <p:cNvSpPr>
            <a:spLocks noGrp="1"/>
          </p:cNvSpPr>
          <p:nvPr>
            <p:ph type="body" sz="half" idx="25"/>
          </p:nvPr>
        </p:nvSpPr>
        <p:spPr>
          <a:xfrm>
            <a:off x="1725836" y="3400425"/>
            <a:ext cx="1388839" cy="85785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6" name="Text Placeholder 3"/>
          <p:cNvSpPr>
            <a:spLocks noGrp="1"/>
          </p:cNvSpPr>
          <p:nvPr>
            <p:ph type="body" sz="half" idx="26"/>
          </p:nvPr>
        </p:nvSpPr>
        <p:spPr>
          <a:xfrm>
            <a:off x="4486274" y="2987508"/>
            <a:ext cx="1388839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1" baseline="0">
                <a:solidFill>
                  <a:schemeClr val="accent5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7" name="Picture Placeholder 7"/>
          <p:cNvSpPr>
            <a:spLocks noGrp="1"/>
          </p:cNvSpPr>
          <p:nvPr>
            <p:ph type="pic" sz="quarter" idx="27" hasCustomPrompt="1"/>
          </p:nvPr>
        </p:nvSpPr>
        <p:spPr>
          <a:xfrm>
            <a:off x="3209925" y="3006759"/>
            <a:ext cx="1169764" cy="1169415"/>
          </a:xfrm>
          <a:prstGeom prst="teardrop">
            <a:avLst/>
          </a:prstGeom>
          <a:ln w="28575">
            <a:solidFill>
              <a:schemeClr val="accent5"/>
            </a:solidFill>
          </a:ln>
        </p:spPr>
        <p:txBody>
          <a:bodyPr bIns="182880" anchor="b"/>
          <a:lstStyle>
            <a:lvl1pPr algn="ct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8" name="Text Placeholder 3"/>
          <p:cNvSpPr>
            <a:spLocks noGrp="1"/>
          </p:cNvSpPr>
          <p:nvPr>
            <p:ph type="body" sz="half" idx="28"/>
          </p:nvPr>
        </p:nvSpPr>
        <p:spPr>
          <a:xfrm>
            <a:off x="4486274" y="3400425"/>
            <a:ext cx="1388839" cy="85785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29"/>
          </p:nvPr>
        </p:nvSpPr>
        <p:spPr>
          <a:xfrm>
            <a:off x="7248524" y="2987508"/>
            <a:ext cx="1388839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1" baseline="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80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5972175" y="3006759"/>
            <a:ext cx="1169764" cy="1169415"/>
          </a:xfrm>
          <a:prstGeom prst="teardrop">
            <a:avLst/>
          </a:prstGeom>
          <a:ln w="28575">
            <a:solidFill>
              <a:schemeClr val="accent6"/>
            </a:solidFill>
          </a:ln>
        </p:spPr>
        <p:txBody>
          <a:bodyPr bIns="182880" anchor="b"/>
          <a:lstStyle>
            <a:lvl1pPr algn="ct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1" name="Text Placeholder 3"/>
          <p:cNvSpPr>
            <a:spLocks noGrp="1"/>
          </p:cNvSpPr>
          <p:nvPr>
            <p:ph type="body" sz="half" idx="31"/>
          </p:nvPr>
        </p:nvSpPr>
        <p:spPr>
          <a:xfrm>
            <a:off x="7248524" y="3400425"/>
            <a:ext cx="1388839" cy="85785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991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500"/>
                            </p:stCondLst>
                            <p:childTnLst>
                              <p:par>
                                <p:cTn id="5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0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500"/>
                            </p:stCondLst>
                            <p:childTnLst>
                              <p:par>
                                <p:cTn id="6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000"/>
                            </p:stCondLst>
                            <p:childTnLst>
                              <p:par>
                                <p:cTn id="7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7500"/>
                            </p:stCondLst>
                            <p:childTnLst>
                              <p:par>
                                <p:cTn id="7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500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8000"/>
                            </p:stCondLst>
                            <p:childTnLst>
                              <p:par>
                                <p:cTn id="8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8500"/>
                            </p:stCondLst>
                            <p:childTnLst>
                              <p:par>
                                <p:cTn id="8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9000"/>
                            </p:stCondLst>
                            <p:childTnLst>
                              <p:par>
                                <p:cTn id="9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6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9500"/>
                            </p:stCondLst>
                            <p:childTnLst>
                              <p:par>
                                <p:cTn id="9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animBg="1"/>
      <p:bldP spid="3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animBg="1"/>
      <p:bldP spid="6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animBg="1"/>
      <p:bldP spid="7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/>
      <p:bldP spid="7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animBg="1"/>
      <p:bldP spid="7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animBg="1"/>
      <p:bldP spid="8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Rounded Rectangle 23"/>
          <p:cNvSpPr/>
          <p:nvPr userDrawn="1"/>
        </p:nvSpPr>
        <p:spPr>
          <a:xfrm>
            <a:off x="654724" y="1375291"/>
            <a:ext cx="3802062" cy="1684314"/>
          </a:xfrm>
          <a:prstGeom prst="roundRect">
            <a:avLst>
              <a:gd name="adj" fmla="val 366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847388" y="1504216"/>
            <a:ext cx="1401282" cy="1426464"/>
          </a:xfrm>
          <a:prstGeom prst="roundRect">
            <a:avLst>
              <a:gd name="adj" fmla="val 8424"/>
            </a:avLst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9184565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animBg="1"/>
      <p:bldP spid="27" grpId="0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133821"/>
            <a:ext cx="2773585" cy="213145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362429" y="1133821"/>
            <a:ext cx="2781572" cy="213145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2773585" y="1133822"/>
            <a:ext cx="3588844" cy="21314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550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514392" y="1073969"/>
            <a:ext cx="3974883" cy="1347062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4514392" y="2571750"/>
            <a:ext cx="3974883" cy="1347062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219139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  <p:bldP spid="13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3938587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5800" indent="-103585">
              <a:lnSpc>
                <a:spcPct val="85000"/>
              </a:lnSpc>
              <a:spcAft>
                <a:spcPts val="600"/>
              </a:spcAft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buClr>
                <a:schemeClr val="accent1"/>
              </a:buClr>
              <a:buFont typeface="Arial" pitchFamily="34" charset="0"/>
              <a:buChar char="–"/>
              <a:defRPr sz="1100">
                <a:latin typeface="Calibri" panose="020F0502020204030204" pitchFamily="34" charset="0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127397" marR="0" lvl="1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Second level</a:t>
            </a:r>
          </a:p>
          <a:p>
            <a:pPr marL="127397" marR="0" lvl="2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Third level</a:t>
            </a:r>
          </a:p>
          <a:p>
            <a:pPr marL="127397" marR="0" lvl="3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Fourth level</a:t>
            </a:r>
          </a:p>
          <a:p>
            <a:pPr marL="127397" marR="0" lvl="4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0" y="916134"/>
            <a:ext cx="4184650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67965" indent="-285750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685800" indent="-103585">
              <a:defRPr lang="en-US" sz="11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127397" marR="0" lvl="1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Second level</a:t>
            </a:r>
          </a:p>
          <a:p>
            <a:pPr marL="127397" marR="0" lvl="2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Third level</a:t>
            </a:r>
          </a:p>
          <a:p>
            <a:pPr marL="127397" marR="0" lvl="3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Fourth level</a:t>
            </a:r>
          </a:p>
          <a:p>
            <a:pPr marL="127397" marR="0" lvl="4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1095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6781800" y="2438400"/>
            <a:ext cx="1905000" cy="1005895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836201" y="3527404"/>
            <a:ext cx="1905000" cy="1005895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6781800" y="1339750"/>
            <a:ext cx="1905000" cy="1024202"/>
            <a:chOff x="4750079" y="1706835"/>
            <a:chExt cx="1785974" cy="1044090"/>
          </a:xfrm>
        </p:grpSpPr>
        <p:sp>
          <p:nvSpPr>
            <p:cNvPr id="26" name="Rectangle 25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836201" y="1363473"/>
            <a:ext cx="1905000" cy="1005895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4836201" y="2440896"/>
            <a:ext cx="1905000" cy="1024202"/>
            <a:chOff x="4750079" y="1706835"/>
            <a:chExt cx="1785974" cy="1044090"/>
          </a:xfrm>
        </p:grpSpPr>
        <p:sp>
          <p:nvSpPr>
            <p:cNvPr id="33" name="Rectangle 32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5" name="Group 34"/>
          <p:cNvGrpSpPr/>
          <p:nvPr userDrawn="1"/>
        </p:nvGrpSpPr>
        <p:grpSpPr>
          <a:xfrm>
            <a:off x="6781800" y="3529900"/>
            <a:ext cx="1905000" cy="1024202"/>
            <a:chOff x="4750079" y="1706835"/>
            <a:chExt cx="1785974" cy="1044090"/>
          </a:xfrm>
        </p:grpSpPr>
        <p:sp>
          <p:nvSpPr>
            <p:cNvPr id="36" name="Rectangle 35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11867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/>
      <p:bldP spid="8" grpId="0"/>
      <p:bldP spid="31" grpId="0"/>
    </p:bld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415786" y="1270500"/>
            <a:ext cx="1706218" cy="1526162"/>
            <a:chOff x="4750079" y="1706835"/>
            <a:chExt cx="1785974" cy="1044090"/>
          </a:xfrm>
        </p:grpSpPr>
        <p:sp>
          <p:nvSpPr>
            <p:cNvPr id="20" name="Rectangle 19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3" name="Group 22"/>
          <p:cNvGrpSpPr/>
          <p:nvPr userDrawn="1"/>
        </p:nvGrpSpPr>
        <p:grpSpPr>
          <a:xfrm>
            <a:off x="7021996" y="1270500"/>
            <a:ext cx="1706218" cy="1526162"/>
            <a:chOff x="4750079" y="1706835"/>
            <a:chExt cx="1785974" cy="1044090"/>
          </a:xfrm>
        </p:grpSpPr>
        <p:sp>
          <p:nvSpPr>
            <p:cNvPr id="24" name="Rectangle 23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2" name="Group 31"/>
          <p:cNvGrpSpPr/>
          <p:nvPr userDrawn="1"/>
        </p:nvGrpSpPr>
        <p:grpSpPr>
          <a:xfrm>
            <a:off x="415786" y="2960526"/>
            <a:ext cx="1706218" cy="1526162"/>
            <a:chOff x="4750079" y="1706835"/>
            <a:chExt cx="1785974" cy="1044090"/>
          </a:xfrm>
        </p:grpSpPr>
        <p:sp>
          <p:nvSpPr>
            <p:cNvPr id="35" name="Rectangle 34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0" name="Group 39"/>
          <p:cNvGrpSpPr/>
          <p:nvPr userDrawn="1"/>
        </p:nvGrpSpPr>
        <p:grpSpPr>
          <a:xfrm>
            <a:off x="7021996" y="2960526"/>
            <a:ext cx="1706218" cy="1526162"/>
            <a:chOff x="4750079" y="1706835"/>
            <a:chExt cx="1785974" cy="1044090"/>
          </a:xfrm>
        </p:grpSpPr>
        <p:sp>
          <p:nvSpPr>
            <p:cNvPr id="41" name="Rectangle 40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2122004" y="1270500"/>
            <a:ext cx="2385392" cy="1526162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4633291" y="1270500"/>
            <a:ext cx="2385392" cy="1526162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2122004" y="2960526"/>
            <a:ext cx="2385392" cy="1526162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4633291" y="2960526"/>
            <a:ext cx="2385392" cy="1526162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half" idx="19"/>
          </p:nvPr>
        </p:nvSpPr>
        <p:spPr>
          <a:xfrm>
            <a:off x="474969" y="1682327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 Placeholder 3"/>
          <p:cNvSpPr>
            <a:spLocks noGrp="1"/>
          </p:cNvSpPr>
          <p:nvPr>
            <p:ph type="body" sz="half" idx="20"/>
          </p:nvPr>
        </p:nvSpPr>
        <p:spPr>
          <a:xfrm>
            <a:off x="469700" y="1457325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53" name="Text Placeholder 3"/>
          <p:cNvSpPr>
            <a:spLocks noGrp="1"/>
          </p:cNvSpPr>
          <p:nvPr>
            <p:ph type="body" sz="half" idx="21"/>
          </p:nvPr>
        </p:nvSpPr>
        <p:spPr>
          <a:xfrm>
            <a:off x="474969" y="3331256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22"/>
          </p:nvPr>
        </p:nvSpPr>
        <p:spPr>
          <a:xfrm>
            <a:off x="469700" y="3106254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55" name="Text Placeholder 3"/>
          <p:cNvSpPr>
            <a:spLocks noGrp="1"/>
          </p:cNvSpPr>
          <p:nvPr>
            <p:ph type="body" sz="half" idx="23"/>
          </p:nvPr>
        </p:nvSpPr>
        <p:spPr>
          <a:xfrm>
            <a:off x="7093940" y="1682327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Text Placeholder 3"/>
          <p:cNvSpPr>
            <a:spLocks noGrp="1"/>
          </p:cNvSpPr>
          <p:nvPr>
            <p:ph type="body" sz="half" idx="24"/>
          </p:nvPr>
        </p:nvSpPr>
        <p:spPr>
          <a:xfrm>
            <a:off x="7088671" y="1457325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25"/>
          </p:nvPr>
        </p:nvSpPr>
        <p:spPr>
          <a:xfrm>
            <a:off x="7093940" y="3369356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Text Placeholder 3"/>
          <p:cNvSpPr>
            <a:spLocks noGrp="1"/>
          </p:cNvSpPr>
          <p:nvPr>
            <p:ph type="body" sz="half" idx="26"/>
          </p:nvPr>
        </p:nvSpPr>
        <p:spPr>
          <a:xfrm>
            <a:off x="7088671" y="3144354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6129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/>
      <p:bldP spid="48" grpId="0"/>
      <p:bldP spid="49" grpId="0"/>
      <p:bldP spid="50" grpId="0"/>
      <p:bldP spid="5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ic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8"/>
          <p:cNvGrpSpPr/>
          <p:nvPr userDrawn="1"/>
        </p:nvGrpSpPr>
        <p:grpSpPr>
          <a:xfrm>
            <a:off x="0" y="1264650"/>
            <a:ext cx="1828800" cy="1682250"/>
            <a:chOff x="4750079" y="1706835"/>
            <a:chExt cx="1785974" cy="1044090"/>
          </a:xfrm>
        </p:grpSpPr>
        <p:sp>
          <p:nvSpPr>
            <p:cNvPr id="20" name="Rectangle 19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2"/>
          <p:cNvGrpSpPr/>
          <p:nvPr userDrawn="1"/>
        </p:nvGrpSpPr>
        <p:grpSpPr>
          <a:xfrm>
            <a:off x="3657600" y="1264650"/>
            <a:ext cx="1828800" cy="1682250"/>
            <a:chOff x="4750079" y="1706835"/>
            <a:chExt cx="1785974" cy="1044090"/>
          </a:xfrm>
        </p:grpSpPr>
        <p:sp>
          <p:nvSpPr>
            <p:cNvPr id="24" name="Rectangle 23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0" name="Group 22"/>
          <p:cNvGrpSpPr/>
          <p:nvPr userDrawn="1"/>
        </p:nvGrpSpPr>
        <p:grpSpPr>
          <a:xfrm>
            <a:off x="7315200" y="1264650"/>
            <a:ext cx="1828800" cy="1682250"/>
            <a:chOff x="4750079" y="1706835"/>
            <a:chExt cx="1785974" cy="1044090"/>
          </a:xfrm>
        </p:grpSpPr>
        <p:sp>
          <p:nvSpPr>
            <p:cNvPr id="43" name="Rectangle 42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1" name="Group 22"/>
          <p:cNvGrpSpPr/>
          <p:nvPr userDrawn="1"/>
        </p:nvGrpSpPr>
        <p:grpSpPr>
          <a:xfrm>
            <a:off x="5486400" y="2946900"/>
            <a:ext cx="1828800" cy="1682250"/>
            <a:chOff x="4750079" y="1706835"/>
            <a:chExt cx="1785974" cy="1044090"/>
          </a:xfrm>
        </p:grpSpPr>
        <p:sp>
          <p:nvSpPr>
            <p:cNvPr id="68" name="Rectangle 67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2" name="Group 22"/>
          <p:cNvGrpSpPr/>
          <p:nvPr userDrawn="1"/>
        </p:nvGrpSpPr>
        <p:grpSpPr>
          <a:xfrm>
            <a:off x="1828800" y="2946900"/>
            <a:ext cx="1828800" cy="1682250"/>
            <a:chOff x="4750079" y="1706835"/>
            <a:chExt cx="1785974" cy="1044090"/>
          </a:xfrm>
        </p:grpSpPr>
        <p:sp>
          <p:nvSpPr>
            <p:cNvPr id="66" name="Rectangle 65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4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1828800" y="1264650"/>
            <a:ext cx="1828800" cy="168225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486400" y="1264650"/>
            <a:ext cx="1828800" cy="168225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6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2946900"/>
            <a:ext cx="1828800" cy="168225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7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3657600" y="2946900"/>
            <a:ext cx="1828800" cy="168225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7299032" y="2946900"/>
            <a:ext cx="1828800" cy="168225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21"/>
          </p:nvPr>
        </p:nvSpPr>
        <p:spPr>
          <a:xfrm>
            <a:off x="119066" y="1730761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0" name="Text Placeholder 3"/>
          <p:cNvSpPr>
            <a:spLocks noGrp="1"/>
          </p:cNvSpPr>
          <p:nvPr>
            <p:ph type="body" sz="half" idx="22"/>
          </p:nvPr>
        </p:nvSpPr>
        <p:spPr>
          <a:xfrm>
            <a:off x="113797" y="1505759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1" name="Text Placeholder 3"/>
          <p:cNvSpPr>
            <a:spLocks noGrp="1"/>
          </p:cNvSpPr>
          <p:nvPr>
            <p:ph type="body" sz="half" idx="23"/>
          </p:nvPr>
        </p:nvSpPr>
        <p:spPr>
          <a:xfrm>
            <a:off x="1952325" y="3460227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ph type="body" sz="half" idx="24"/>
          </p:nvPr>
        </p:nvSpPr>
        <p:spPr>
          <a:xfrm>
            <a:off x="1947056" y="3235225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3" name="Text Placeholder 3"/>
          <p:cNvSpPr>
            <a:spLocks noGrp="1"/>
          </p:cNvSpPr>
          <p:nvPr>
            <p:ph type="body" sz="half" idx="25"/>
          </p:nvPr>
        </p:nvSpPr>
        <p:spPr>
          <a:xfrm>
            <a:off x="3790750" y="1730761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26"/>
          </p:nvPr>
        </p:nvSpPr>
        <p:spPr>
          <a:xfrm>
            <a:off x="3785481" y="1505759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5" name="Text Placeholder 3"/>
          <p:cNvSpPr>
            <a:spLocks noGrp="1"/>
          </p:cNvSpPr>
          <p:nvPr>
            <p:ph type="body" sz="half" idx="27"/>
          </p:nvPr>
        </p:nvSpPr>
        <p:spPr>
          <a:xfrm>
            <a:off x="5614281" y="3460227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6" name="Text Placeholder 3"/>
          <p:cNvSpPr>
            <a:spLocks noGrp="1"/>
          </p:cNvSpPr>
          <p:nvPr>
            <p:ph type="body" sz="half" idx="28"/>
          </p:nvPr>
        </p:nvSpPr>
        <p:spPr>
          <a:xfrm>
            <a:off x="5609012" y="3235225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7" name="Text Placeholder 3"/>
          <p:cNvSpPr>
            <a:spLocks noGrp="1"/>
          </p:cNvSpPr>
          <p:nvPr>
            <p:ph type="body" sz="half" idx="29"/>
          </p:nvPr>
        </p:nvSpPr>
        <p:spPr>
          <a:xfrm>
            <a:off x="7466719" y="1730761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8" name="Text Placeholder 3"/>
          <p:cNvSpPr>
            <a:spLocks noGrp="1"/>
          </p:cNvSpPr>
          <p:nvPr>
            <p:ph type="body" sz="half" idx="30"/>
          </p:nvPr>
        </p:nvSpPr>
        <p:spPr>
          <a:xfrm>
            <a:off x="7461450" y="1505759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447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/>
      <p:bldP spid="75" grpId="0"/>
      <p:bldP spid="76" grpId="0"/>
      <p:bldP spid="77" grpId="0"/>
      <p:bldP spid="78" grpId="0"/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53855" y="1122093"/>
            <a:ext cx="1834811" cy="2844844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671040" y="1122093"/>
            <a:ext cx="1779495" cy="1347062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6700526" y="1122093"/>
            <a:ext cx="1779495" cy="1347062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2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4658482" y="2619875"/>
            <a:ext cx="1779495" cy="1347062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2664561" y="2570470"/>
            <a:ext cx="1785974" cy="1396467"/>
            <a:chOff x="2664561" y="2570470"/>
            <a:chExt cx="1785974" cy="1396467"/>
          </a:xfrm>
        </p:grpSpPr>
        <p:sp>
          <p:nvSpPr>
            <p:cNvPr id="34" name="Rectangle 33"/>
            <p:cNvSpPr/>
            <p:nvPr/>
          </p:nvSpPr>
          <p:spPr>
            <a:xfrm>
              <a:off x="2664561" y="2570470"/>
              <a:ext cx="1785974" cy="134706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2664561" y="2619875"/>
              <a:ext cx="1785974" cy="134706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6" name="Group 3"/>
          <p:cNvGrpSpPr/>
          <p:nvPr userDrawn="1"/>
        </p:nvGrpSpPr>
        <p:grpSpPr>
          <a:xfrm>
            <a:off x="6694047" y="2562850"/>
            <a:ext cx="1785974" cy="1404087"/>
            <a:chOff x="6694047" y="2562850"/>
            <a:chExt cx="1785974" cy="1404087"/>
          </a:xfrm>
        </p:grpSpPr>
        <p:sp>
          <p:nvSpPr>
            <p:cNvPr id="37" name="Rectangle 36"/>
            <p:cNvSpPr/>
            <p:nvPr/>
          </p:nvSpPr>
          <p:spPr>
            <a:xfrm>
              <a:off x="6694047" y="2562850"/>
              <a:ext cx="1785974" cy="1347062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6694047" y="2619875"/>
              <a:ext cx="1785974" cy="13470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Group 2"/>
          <p:cNvGrpSpPr/>
          <p:nvPr userDrawn="1"/>
        </p:nvGrpSpPr>
        <p:grpSpPr>
          <a:xfrm>
            <a:off x="4658482" y="1122093"/>
            <a:ext cx="1785974" cy="1407182"/>
            <a:chOff x="4658482" y="1122093"/>
            <a:chExt cx="1785974" cy="1407182"/>
          </a:xfrm>
        </p:grpSpPr>
        <p:sp>
          <p:nvSpPr>
            <p:cNvPr id="40" name="Rectangle 39"/>
            <p:cNvSpPr/>
            <p:nvPr/>
          </p:nvSpPr>
          <p:spPr>
            <a:xfrm>
              <a:off x="4658482" y="1182213"/>
              <a:ext cx="1785974" cy="1347062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4658482" y="1122093"/>
              <a:ext cx="1785974" cy="134706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47105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/>
      <p:bldP spid="28" grpId="0"/>
      <p:bldP spid="31" grpId="0"/>
      <p:bldP spid="32" grpId="0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4" name="Group 43"/>
          <p:cNvGrpSpPr/>
          <p:nvPr userDrawn="1"/>
        </p:nvGrpSpPr>
        <p:grpSpPr>
          <a:xfrm>
            <a:off x="4750079" y="1430890"/>
            <a:ext cx="1785974" cy="1044090"/>
            <a:chOff x="4750079" y="1706835"/>
            <a:chExt cx="1785974" cy="1044090"/>
          </a:xfrm>
        </p:grpSpPr>
        <p:sp>
          <p:nvSpPr>
            <p:cNvPr id="45" name="Rectangle 44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" name="Group 46"/>
          <p:cNvGrpSpPr/>
          <p:nvPr userDrawn="1"/>
        </p:nvGrpSpPr>
        <p:grpSpPr>
          <a:xfrm>
            <a:off x="6707505" y="1430890"/>
            <a:ext cx="1785974" cy="1044090"/>
            <a:chOff x="6707505" y="1706835"/>
            <a:chExt cx="1785974" cy="1044090"/>
          </a:xfrm>
        </p:grpSpPr>
        <p:sp>
          <p:nvSpPr>
            <p:cNvPr id="48" name="Rectangle 47"/>
            <p:cNvSpPr/>
            <p:nvPr/>
          </p:nvSpPr>
          <p:spPr>
            <a:xfrm>
              <a:off x="6707505" y="1747885"/>
              <a:ext cx="1785974" cy="100304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707505" y="1706835"/>
              <a:ext cx="1785974" cy="100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0" name="Group 49"/>
          <p:cNvGrpSpPr/>
          <p:nvPr userDrawn="1"/>
        </p:nvGrpSpPr>
        <p:grpSpPr>
          <a:xfrm>
            <a:off x="4750079" y="2517098"/>
            <a:ext cx="1785974" cy="1045251"/>
            <a:chOff x="4750079" y="2793043"/>
            <a:chExt cx="1785974" cy="1045251"/>
          </a:xfrm>
        </p:grpSpPr>
        <p:sp>
          <p:nvSpPr>
            <p:cNvPr id="51" name="Rectangle 50"/>
            <p:cNvSpPr/>
            <p:nvPr/>
          </p:nvSpPr>
          <p:spPr>
            <a:xfrm>
              <a:off x="4750079" y="2793043"/>
              <a:ext cx="1785974" cy="10030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4750079" y="2835254"/>
              <a:ext cx="1785974" cy="10030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3" name="Group 52"/>
          <p:cNvGrpSpPr/>
          <p:nvPr userDrawn="1"/>
        </p:nvGrpSpPr>
        <p:grpSpPr>
          <a:xfrm>
            <a:off x="6707505" y="2517098"/>
            <a:ext cx="1785974" cy="1045251"/>
            <a:chOff x="6707505" y="2793043"/>
            <a:chExt cx="1785974" cy="1045251"/>
          </a:xfrm>
        </p:grpSpPr>
        <p:sp>
          <p:nvSpPr>
            <p:cNvPr id="54" name="Rectangle 53"/>
            <p:cNvSpPr/>
            <p:nvPr/>
          </p:nvSpPr>
          <p:spPr>
            <a:xfrm>
              <a:off x="6707505" y="2793043"/>
              <a:ext cx="1785974" cy="100304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6707505" y="2835254"/>
              <a:ext cx="1785974" cy="10030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6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68891" y="1430890"/>
            <a:ext cx="3884059" cy="213146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888864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/>
    </p:bld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02843"/>
            <a:ext cx="9127832" cy="2254948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551712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 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43246" y="1062333"/>
            <a:ext cx="2602150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43246" y="2416390"/>
            <a:ext cx="2602149" cy="4209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10" name="Round Same Side Corner Rectangle 9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7"/>
          </p:nvPr>
        </p:nvSpPr>
        <p:spPr>
          <a:xfrm>
            <a:off x="510621" y="2522265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258150" y="1062333"/>
            <a:ext cx="2602150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258150" y="2416390"/>
            <a:ext cx="2602149" cy="4209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9"/>
          </p:nvPr>
        </p:nvSpPr>
        <p:spPr>
          <a:xfrm>
            <a:off x="3325525" y="2522265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6071075" y="1062333"/>
            <a:ext cx="2602150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6071075" y="2416390"/>
            <a:ext cx="2602149" cy="42091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1"/>
          </p:nvPr>
        </p:nvSpPr>
        <p:spPr>
          <a:xfrm>
            <a:off x="6138450" y="2522265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443246" y="2993063"/>
            <a:ext cx="2602150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43246" y="4347120"/>
            <a:ext cx="2602149" cy="4209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23"/>
          </p:nvPr>
        </p:nvSpPr>
        <p:spPr>
          <a:xfrm>
            <a:off x="510621" y="4452995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3258150" y="2993063"/>
            <a:ext cx="2602150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3258150" y="4347120"/>
            <a:ext cx="2602149" cy="42091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25"/>
          </p:nvPr>
        </p:nvSpPr>
        <p:spPr>
          <a:xfrm>
            <a:off x="3325525" y="4452995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6071075" y="2993063"/>
            <a:ext cx="2602150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6071075" y="4347120"/>
            <a:ext cx="2602149" cy="4209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27"/>
          </p:nvPr>
        </p:nvSpPr>
        <p:spPr>
          <a:xfrm>
            <a:off x="6138450" y="4452995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023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4" grpId="0" animBg="1"/>
      <p:bldP spid="8" grpId="0"/>
      <p:bldP spid="9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/>
      <p:bldP spid="15" grpId="0" animBg="1"/>
      <p:bldP spid="1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/>
      <p:bldP spid="18" grpId="0" animBg="1"/>
      <p:bldP spid="1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  <p:bldP spid="21" grpId="0" animBg="1"/>
      <p:bldP spid="2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  <p:bldP spid="24" grpId="0" animBg="1"/>
      <p:bldP spid="2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/>
      <p:bldP spid="27" grpId="0" animBg="1"/>
      <p:bldP spid="2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506970" y="3506082"/>
            <a:ext cx="1811374" cy="1003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2556160" y="3506082"/>
            <a:ext cx="1811374" cy="10030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06970" y="1178543"/>
            <a:ext cx="3869193" cy="213145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545589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animBg="1"/>
      <p:bldP spid="11" grpId="0" animBg="1"/>
      <p:bldP spid="12" grpId="0"/>
    </p:bld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-7985" y="1073968"/>
            <a:ext cx="3160757" cy="2131459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17500" sx="1000" sy="1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3152772" y="1073968"/>
            <a:ext cx="5991228" cy="213145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063997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animBg="1"/>
      <p:bldP spid="15" grpId="0"/>
    </p:bld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27831" cy="2974997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632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245633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60456" y="1229499"/>
            <a:ext cx="3681115" cy="3225991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517403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87214" y="0"/>
            <a:ext cx="4456786" cy="51435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718430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4456786" cy="51435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141506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65438" y="2994298"/>
            <a:ext cx="2007972" cy="1651304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1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28355" y="2994298"/>
            <a:ext cx="2007972" cy="1651304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2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511238" y="1208553"/>
            <a:ext cx="2007972" cy="1651304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3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6746296" y="1208553"/>
            <a:ext cx="2007972" cy="1651304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2511238" y="2859857"/>
            <a:ext cx="2007972" cy="178574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400">
              <a:spcBef>
                <a:spcPct val="20000"/>
              </a:spcBef>
              <a:defRPr/>
            </a:pPr>
            <a:endParaRPr lang="en-US" sz="4000">
              <a:latin typeface="FontAwesome" pitchFamily="2" charset="0"/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365438" y="1208553"/>
            <a:ext cx="2007972" cy="178574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400">
              <a:spcBef>
                <a:spcPct val="20000"/>
              </a:spcBef>
              <a:defRPr/>
            </a:pPr>
            <a:endParaRPr lang="en-US" sz="440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4628355" y="1208552"/>
            <a:ext cx="2007972" cy="178574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400">
              <a:spcBef>
                <a:spcPct val="20000"/>
              </a:spcBef>
              <a:defRPr/>
            </a:pPr>
            <a:r>
              <a:rPr lang="en-US" sz="1000"/>
              <a:t> </a:t>
            </a:r>
          </a:p>
          <a:p>
            <a:pPr lvl="0" algn="ctr" defTabSz="914400">
              <a:spcBef>
                <a:spcPct val="20000"/>
              </a:spcBef>
              <a:defRPr/>
            </a:pPr>
            <a:br>
              <a:rPr lang="en-US" sz="1200" b="1">
                <a:solidFill>
                  <a:schemeClr val="bg1">
                    <a:lumMod val="95000"/>
                  </a:schemeClr>
                </a:solidFill>
              </a:rPr>
            </a:br>
            <a:br>
              <a:rPr lang="en-US" sz="1200" b="1">
                <a:solidFill>
                  <a:schemeClr val="bg1">
                    <a:lumMod val="95000"/>
                  </a:schemeClr>
                </a:solidFill>
              </a:rPr>
            </a:br>
            <a:endParaRPr lang="en-US" sz="160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6746296" y="2859857"/>
            <a:ext cx="2007972" cy="178574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spcBef>
                <a:spcPct val="20000"/>
              </a:spcBef>
              <a:defRPr/>
            </a:pPr>
            <a:endParaRPr lang="en-US" sz="1200" b="1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3984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/>
      <p:bldP spid="52" grpId="0"/>
      <p:bldP spid="53" grpId="0"/>
      <p:bldP spid="36" grpId="0" animBg="1"/>
      <p:bldP spid="35" grpId="0" animBg="1"/>
      <p:bldP spid="39" grpId="0" animBg="1"/>
      <p:bldP spid="44" grpId="0" animBg="1"/>
    </p:bld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-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4714725" y="1646263"/>
            <a:ext cx="3773217" cy="2023461"/>
          </a:xfrm>
          <a:prstGeom prst="downArrowCallout">
            <a:avLst>
              <a:gd name="adj1" fmla="val 50000"/>
              <a:gd name="adj2" fmla="val 11967"/>
              <a:gd name="adj3" fmla="val 7487"/>
              <a:gd name="adj4" fmla="val 92647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643682" y="1636638"/>
            <a:ext cx="3773217" cy="2033086"/>
          </a:xfrm>
          <a:prstGeom prst="downArrowCallout">
            <a:avLst>
              <a:gd name="adj1" fmla="val 50000"/>
              <a:gd name="adj2" fmla="val 11967"/>
              <a:gd name="adj3" fmla="val 7487"/>
              <a:gd name="adj4" fmla="val 92647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3"/>
          <p:cNvSpPr>
            <a:spLocks noGrp="1"/>
          </p:cNvSpPr>
          <p:nvPr>
            <p:ph type="body" sz="half" idx="15"/>
          </p:nvPr>
        </p:nvSpPr>
        <p:spPr>
          <a:xfrm>
            <a:off x="648949" y="3894926"/>
            <a:ext cx="3762683" cy="63509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ext Placeholder 3"/>
          <p:cNvSpPr>
            <a:spLocks noGrp="1"/>
          </p:cNvSpPr>
          <p:nvPr>
            <p:ph type="body" sz="half" idx="17"/>
          </p:nvPr>
        </p:nvSpPr>
        <p:spPr>
          <a:xfrm>
            <a:off x="643681" y="3688974"/>
            <a:ext cx="377321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59" name="Text Placeholder 3"/>
          <p:cNvSpPr>
            <a:spLocks noGrp="1"/>
          </p:cNvSpPr>
          <p:nvPr>
            <p:ph type="body" sz="half" idx="23"/>
          </p:nvPr>
        </p:nvSpPr>
        <p:spPr>
          <a:xfrm>
            <a:off x="4719992" y="3894926"/>
            <a:ext cx="3762683" cy="63509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 Placeholder 3"/>
          <p:cNvSpPr>
            <a:spLocks noGrp="1"/>
          </p:cNvSpPr>
          <p:nvPr>
            <p:ph type="body" sz="half" idx="25"/>
          </p:nvPr>
        </p:nvSpPr>
        <p:spPr>
          <a:xfrm>
            <a:off x="4714724" y="3688974"/>
            <a:ext cx="377321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32" name="Rectangle 31"/>
          <p:cNvSpPr/>
          <p:nvPr userDrawn="1"/>
        </p:nvSpPr>
        <p:spPr>
          <a:xfrm>
            <a:off x="648948" y="1254235"/>
            <a:ext cx="3762684" cy="38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41" name="Text Placeholder 3"/>
          <p:cNvSpPr>
            <a:spLocks noGrp="1"/>
          </p:cNvSpPr>
          <p:nvPr>
            <p:ph type="body" sz="half" idx="16"/>
          </p:nvPr>
        </p:nvSpPr>
        <p:spPr>
          <a:xfrm>
            <a:off x="672532" y="1330017"/>
            <a:ext cx="3715517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60" name="Rectangle 59"/>
          <p:cNvSpPr/>
          <p:nvPr userDrawn="1"/>
        </p:nvSpPr>
        <p:spPr>
          <a:xfrm>
            <a:off x="4719991" y="1254235"/>
            <a:ext cx="3762684" cy="381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61" name="Text Placeholder 3"/>
          <p:cNvSpPr>
            <a:spLocks noGrp="1"/>
          </p:cNvSpPr>
          <p:nvPr>
            <p:ph type="body" sz="half" idx="24"/>
          </p:nvPr>
        </p:nvSpPr>
        <p:spPr>
          <a:xfrm>
            <a:off x="4743575" y="1330017"/>
            <a:ext cx="3715517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421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/>
      <p:bldP spid="38" grpId="0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animBg="1"/>
      <p:bldP spid="4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0" grpId="0" animBg="1"/>
      <p:bldP spid="6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643683" y="1665213"/>
            <a:ext cx="2491870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48950" y="3866351"/>
            <a:ext cx="2486604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7" name="Text Placeholder 3"/>
          <p:cNvSpPr>
            <a:spLocks noGrp="1"/>
          </p:cNvSpPr>
          <p:nvPr>
            <p:ph type="body" sz="half" idx="17"/>
          </p:nvPr>
        </p:nvSpPr>
        <p:spPr>
          <a:xfrm>
            <a:off x="643681" y="3660399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78" name="Rectangle 77"/>
          <p:cNvSpPr/>
          <p:nvPr userDrawn="1"/>
        </p:nvSpPr>
        <p:spPr>
          <a:xfrm>
            <a:off x="648949" y="1282810"/>
            <a:ext cx="2486604" cy="38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16"/>
          </p:nvPr>
        </p:nvSpPr>
        <p:spPr>
          <a:xfrm>
            <a:off x="742617" y="1372937"/>
            <a:ext cx="2299268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333752" y="1665213"/>
            <a:ext cx="2491870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1" name="Text Placeholder 3"/>
          <p:cNvSpPr>
            <a:spLocks noGrp="1"/>
          </p:cNvSpPr>
          <p:nvPr>
            <p:ph type="body" sz="half" idx="19"/>
          </p:nvPr>
        </p:nvSpPr>
        <p:spPr>
          <a:xfrm>
            <a:off x="3339019" y="3866351"/>
            <a:ext cx="2486604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ph type="body" sz="half" idx="20"/>
          </p:nvPr>
        </p:nvSpPr>
        <p:spPr>
          <a:xfrm>
            <a:off x="3333750" y="3660399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3" name="Rectangle 82"/>
          <p:cNvSpPr/>
          <p:nvPr userDrawn="1"/>
        </p:nvSpPr>
        <p:spPr>
          <a:xfrm>
            <a:off x="3339018" y="1282810"/>
            <a:ext cx="2486604" cy="381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21"/>
          </p:nvPr>
        </p:nvSpPr>
        <p:spPr>
          <a:xfrm>
            <a:off x="3432686" y="1372937"/>
            <a:ext cx="2299268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5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6019802" y="1665213"/>
            <a:ext cx="2491870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6" name="Text Placeholder 3"/>
          <p:cNvSpPr>
            <a:spLocks noGrp="1"/>
          </p:cNvSpPr>
          <p:nvPr>
            <p:ph type="body" sz="half" idx="23"/>
          </p:nvPr>
        </p:nvSpPr>
        <p:spPr>
          <a:xfrm>
            <a:off x="6025069" y="3866351"/>
            <a:ext cx="2486604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7" name="Text Placeholder 3"/>
          <p:cNvSpPr>
            <a:spLocks noGrp="1"/>
          </p:cNvSpPr>
          <p:nvPr>
            <p:ph type="body" sz="half" idx="24"/>
          </p:nvPr>
        </p:nvSpPr>
        <p:spPr>
          <a:xfrm>
            <a:off x="6019800" y="3660399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8" name="Rectangle 87"/>
          <p:cNvSpPr/>
          <p:nvPr userDrawn="1"/>
        </p:nvSpPr>
        <p:spPr>
          <a:xfrm>
            <a:off x="6025068" y="1282810"/>
            <a:ext cx="2486604" cy="381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89" name="Text Placeholder 3"/>
          <p:cNvSpPr>
            <a:spLocks noGrp="1"/>
          </p:cNvSpPr>
          <p:nvPr>
            <p:ph type="body" sz="half" idx="25"/>
          </p:nvPr>
        </p:nvSpPr>
        <p:spPr>
          <a:xfrm>
            <a:off x="6118736" y="1372937"/>
            <a:ext cx="2299268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906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0"/>
                            </p:stCondLst>
                            <p:childTnLst>
                              <p:par>
                                <p:cTn id="59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6000"/>
                            </p:stCondLst>
                            <p:childTnLst>
                              <p:par>
                                <p:cTn id="72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500"/>
                            </p:stCondLst>
                            <p:childTnLst>
                              <p:par>
                                <p:cTn id="7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/>
      <p:bldP spid="7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8" grpId="0" animBg="1"/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/>
      <p:bldP spid="8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3" grpId="0" animBg="1"/>
      <p:bldP spid="8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0"/>
      <p:bldP spid="8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8" grpId="0" animBg="1"/>
      <p:bldP spid="8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570750" y="1585670"/>
            <a:ext cx="1871668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6" name="Text Placeholder 3"/>
          <p:cNvSpPr>
            <a:spLocks noGrp="1"/>
          </p:cNvSpPr>
          <p:nvPr>
            <p:ph type="body" sz="half" idx="15"/>
          </p:nvPr>
        </p:nvSpPr>
        <p:spPr>
          <a:xfrm>
            <a:off x="520611" y="3771101"/>
            <a:ext cx="1932643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7" name="Text Placeholder 3"/>
          <p:cNvSpPr>
            <a:spLocks noGrp="1"/>
          </p:cNvSpPr>
          <p:nvPr>
            <p:ph type="body" sz="half" idx="17"/>
          </p:nvPr>
        </p:nvSpPr>
        <p:spPr>
          <a:xfrm>
            <a:off x="515342" y="3565149"/>
            <a:ext cx="193805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78" name="Rectangle 77"/>
          <p:cNvSpPr/>
          <p:nvPr userDrawn="1"/>
        </p:nvSpPr>
        <p:spPr>
          <a:xfrm>
            <a:off x="576016" y="1203267"/>
            <a:ext cx="1867713" cy="38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16"/>
          </p:nvPr>
        </p:nvSpPr>
        <p:spPr>
          <a:xfrm>
            <a:off x="646371" y="1293394"/>
            <a:ext cx="1727003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4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633722" y="1585670"/>
            <a:ext cx="1871668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half" idx="19"/>
          </p:nvPr>
        </p:nvSpPr>
        <p:spPr>
          <a:xfrm>
            <a:off x="2583583" y="3771101"/>
            <a:ext cx="1932643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0"/>
          </p:nvPr>
        </p:nvSpPr>
        <p:spPr>
          <a:xfrm>
            <a:off x="2578314" y="3565149"/>
            <a:ext cx="193805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44" name="Rectangle 43"/>
          <p:cNvSpPr/>
          <p:nvPr userDrawn="1"/>
        </p:nvSpPr>
        <p:spPr>
          <a:xfrm>
            <a:off x="2638988" y="1203267"/>
            <a:ext cx="1867713" cy="381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21"/>
          </p:nvPr>
        </p:nvSpPr>
        <p:spPr>
          <a:xfrm>
            <a:off x="2709343" y="1293394"/>
            <a:ext cx="1727003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46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4684531" y="1585670"/>
            <a:ext cx="1871668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half" idx="23"/>
          </p:nvPr>
        </p:nvSpPr>
        <p:spPr>
          <a:xfrm>
            <a:off x="4634392" y="3771101"/>
            <a:ext cx="1932643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Text Placeholder 3"/>
          <p:cNvSpPr>
            <a:spLocks noGrp="1"/>
          </p:cNvSpPr>
          <p:nvPr>
            <p:ph type="body" sz="half" idx="24"/>
          </p:nvPr>
        </p:nvSpPr>
        <p:spPr>
          <a:xfrm>
            <a:off x="4629123" y="3565149"/>
            <a:ext cx="193805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49" name="Rectangle 48"/>
          <p:cNvSpPr/>
          <p:nvPr userDrawn="1"/>
        </p:nvSpPr>
        <p:spPr>
          <a:xfrm>
            <a:off x="4689797" y="1203267"/>
            <a:ext cx="1867713" cy="381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0" name="Text Placeholder 3"/>
          <p:cNvSpPr>
            <a:spLocks noGrp="1"/>
          </p:cNvSpPr>
          <p:nvPr>
            <p:ph type="body" sz="half" idx="25"/>
          </p:nvPr>
        </p:nvSpPr>
        <p:spPr>
          <a:xfrm>
            <a:off x="4760152" y="1293394"/>
            <a:ext cx="1727003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56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6722908" y="1585670"/>
            <a:ext cx="1871668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27"/>
          </p:nvPr>
        </p:nvSpPr>
        <p:spPr>
          <a:xfrm>
            <a:off x="6672769" y="3771101"/>
            <a:ext cx="1932643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Text Placeholder 3"/>
          <p:cNvSpPr>
            <a:spLocks noGrp="1"/>
          </p:cNvSpPr>
          <p:nvPr>
            <p:ph type="body" sz="half" idx="28"/>
          </p:nvPr>
        </p:nvSpPr>
        <p:spPr>
          <a:xfrm>
            <a:off x="6667500" y="3565149"/>
            <a:ext cx="193805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59" name="Rectangle 58"/>
          <p:cNvSpPr/>
          <p:nvPr userDrawn="1"/>
        </p:nvSpPr>
        <p:spPr>
          <a:xfrm>
            <a:off x="6728174" y="1203267"/>
            <a:ext cx="1867713" cy="381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60" name="Text Placeholder 3"/>
          <p:cNvSpPr>
            <a:spLocks noGrp="1"/>
          </p:cNvSpPr>
          <p:nvPr>
            <p:ph type="body" sz="half" idx="29"/>
          </p:nvPr>
        </p:nvSpPr>
        <p:spPr>
          <a:xfrm>
            <a:off x="6798529" y="1293394"/>
            <a:ext cx="1727003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378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0"/>
                            </p:stCondLst>
                            <p:childTnLst>
                              <p:par>
                                <p:cTn id="59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6000"/>
                            </p:stCondLst>
                            <p:childTnLst>
                              <p:par>
                                <p:cTn id="72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500"/>
                            </p:stCondLst>
                            <p:childTnLst>
                              <p:par>
                                <p:cTn id="7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7000"/>
                            </p:stCondLst>
                            <p:childTnLst>
                              <p:par>
                                <p:cTn id="82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7500"/>
                            </p:stCondLst>
                            <p:childTnLst>
                              <p:par>
                                <p:cTn id="8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8000"/>
                            </p:stCondLst>
                            <p:childTnLst>
                              <p:par>
                                <p:cTn id="95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8500"/>
                            </p:stCondLst>
                            <p:childTnLst>
                              <p:par>
                                <p:cTn id="100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/>
      <p:bldP spid="7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8" grpId="0" animBg="1"/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/>
      <p:bldP spid="4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/>
      <p:bldP spid="4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/>
      <p:bldP spid="4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0" animBg="1"/>
      <p:bldP spid="5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/>
      <p:bldP spid="5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9" grpId="0" animBg="1"/>
      <p:bldP spid="6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503083" y="1599597"/>
            <a:ext cx="1540591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6" name="Text Placeholder 3"/>
          <p:cNvSpPr>
            <a:spLocks noGrp="1"/>
          </p:cNvSpPr>
          <p:nvPr>
            <p:ph type="body" sz="half" idx="15"/>
          </p:nvPr>
        </p:nvSpPr>
        <p:spPr>
          <a:xfrm>
            <a:off x="452945" y="3794553"/>
            <a:ext cx="1590780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7" name="Text Placeholder 3"/>
          <p:cNvSpPr>
            <a:spLocks noGrp="1"/>
          </p:cNvSpPr>
          <p:nvPr>
            <p:ph type="body" sz="half" idx="17"/>
          </p:nvPr>
        </p:nvSpPr>
        <p:spPr>
          <a:xfrm>
            <a:off x="447675" y="3588601"/>
            <a:ext cx="159523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78" name="Rectangle 77"/>
          <p:cNvSpPr/>
          <p:nvPr userDrawn="1"/>
        </p:nvSpPr>
        <p:spPr>
          <a:xfrm>
            <a:off x="508350" y="1217194"/>
            <a:ext cx="1537336" cy="38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16"/>
          </p:nvPr>
        </p:nvSpPr>
        <p:spPr>
          <a:xfrm>
            <a:off x="566260" y="1307321"/>
            <a:ext cx="1421516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63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147332" y="1599597"/>
            <a:ext cx="1540591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half" idx="19"/>
          </p:nvPr>
        </p:nvSpPr>
        <p:spPr>
          <a:xfrm>
            <a:off x="2097194" y="3794553"/>
            <a:ext cx="1590780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5" name="Text Placeholder 3"/>
          <p:cNvSpPr>
            <a:spLocks noGrp="1"/>
          </p:cNvSpPr>
          <p:nvPr>
            <p:ph type="body" sz="half" idx="20"/>
          </p:nvPr>
        </p:nvSpPr>
        <p:spPr>
          <a:xfrm>
            <a:off x="2091924" y="3588601"/>
            <a:ext cx="159523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66" name="Rectangle 65"/>
          <p:cNvSpPr/>
          <p:nvPr userDrawn="1"/>
        </p:nvSpPr>
        <p:spPr>
          <a:xfrm>
            <a:off x="2152599" y="1217194"/>
            <a:ext cx="1537336" cy="381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67" name="Text Placeholder 3"/>
          <p:cNvSpPr>
            <a:spLocks noGrp="1"/>
          </p:cNvSpPr>
          <p:nvPr>
            <p:ph type="body" sz="half" idx="21"/>
          </p:nvPr>
        </p:nvSpPr>
        <p:spPr>
          <a:xfrm>
            <a:off x="2210509" y="1307321"/>
            <a:ext cx="1421516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68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3794548" y="1599597"/>
            <a:ext cx="1540591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9" name="Text Placeholder 3"/>
          <p:cNvSpPr>
            <a:spLocks noGrp="1"/>
          </p:cNvSpPr>
          <p:nvPr>
            <p:ph type="body" sz="half" idx="23"/>
          </p:nvPr>
        </p:nvSpPr>
        <p:spPr>
          <a:xfrm>
            <a:off x="3744410" y="3794553"/>
            <a:ext cx="1590780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0" name="Text Placeholder 3"/>
          <p:cNvSpPr>
            <a:spLocks noGrp="1"/>
          </p:cNvSpPr>
          <p:nvPr>
            <p:ph type="body" sz="half" idx="24"/>
          </p:nvPr>
        </p:nvSpPr>
        <p:spPr>
          <a:xfrm>
            <a:off x="3739140" y="3588601"/>
            <a:ext cx="159523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71" name="Rectangle 70"/>
          <p:cNvSpPr/>
          <p:nvPr userDrawn="1"/>
        </p:nvSpPr>
        <p:spPr>
          <a:xfrm>
            <a:off x="3799815" y="1217194"/>
            <a:ext cx="1537336" cy="381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2" name="Text Placeholder 3"/>
          <p:cNvSpPr>
            <a:spLocks noGrp="1"/>
          </p:cNvSpPr>
          <p:nvPr>
            <p:ph type="body" sz="half" idx="25"/>
          </p:nvPr>
        </p:nvSpPr>
        <p:spPr>
          <a:xfrm>
            <a:off x="3857725" y="1307321"/>
            <a:ext cx="1421516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73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5438435" y="1599597"/>
            <a:ext cx="1540591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half" idx="27"/>
          </p:nvPr>
        </p:nvSpPr>
        <p:spPr>
          <a:xfrm>
            <a:off x="5388297" y="3794553"/>
            <a:ext cx="1590780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0" name="Text Placeholder 3"/>
          <p:cNvSpPr>
            <a:spLocks noGrp="1"/>
          </p:cNvSpPr>
          <p:nvPr>
            <p:ph type="body" sz="half" idx="28"/>
          </p:nvPr>
        </p:nvSpPr>
        <p:spPr>
          <a:xfrm>
            <a:off x="5383027" y="3588601"/>
            <a:ext cx="159523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1" name="Rectangle 80"/>
          <p:cNvSpPr/>
          <p:nvPr userDrawn="1"/>
        </p:nvSpPr>
        <p:spPr>
          <a:xfrm>
            <a:off x="5443702" y="1217194"/>
            <a:ext cx="1537336" cy="381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82" name="Text Placeholder 3"/>
          <p:cNvSpPr>
            <a:spLocks noGrp="1"/>
          </p:cNvSpPr>
          <p:nvPr>
            <p:ph type="body" sz="half" idx="29"/>
          </p:nvPr>
        </p:nvSpPr>
        <p:spPr>
          <a:xfrm>
            <a:off x="5501612" y="1307321"/>
            <a:ext cx="1421516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3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7077764" y="1599597"/>
            <a:ext cx="1540591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31"/>
          </p:nvPr>
        </p:nvSpPr>
        <p:spPr>
          <a:xfrm>
            <a:off x="7027626" y="3794553"/>
            <a:ext cx="1590780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Text Placeholder 3"/>
          <p:cNvSpPr>
            <a:spLocks noGrp="1"/>
          </p:cNvSpPr>
          <p:nvPr>
            <p:ph type="body" sz="half" idx="32"/>
          </p:nvPr>
        </p:nvSpPr>
        <p:spPr>
          <a:xfrm>
            <a:off x="7022356" y="3588601"/>
            <a:ext cx="159523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5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6" name="Rectangle 85"/>
          <p:cNvSpPr/>
          <p:nvPr userDrawn="1"/>
        </p:nvSpPr>
        <p:spPr>
          <a:xfrm>
            <a:off x="7083031" y="1217194"/>
            <a:ext cx="1537336" cy="381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87" name="Text Placeholder 3"/>
          <p:cNvSpPr>
            <a:spLocks noGrp="1"/>
          </p:cNvSpPr>
          <p:nvPr>
            <p:ph type="body" sz="half" idx="33"/>
          </p:nvPr>
        </p:nvSpPr>
        <p:spPr>
          <a:xfrm>
            <a:off x="7140941" y="1307321"/>
            <a:ext cx="1421516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234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0"/>
                            </p:stCondLst>
                            <p:childTnLst>
                              <p:par>
                                <p:cTn id="59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6000"/>
                            </p:stCondLst>
                            <p:childTnLst>
                              <p:par>
                                <p:cTn id="72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500"/>
                            </p:stCondLst>
                            <p:childTnLst>
                              <p:par>
                                <p:cTn id="7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7000"/>
                            </p:stCondLst>
                            <p:childTnLst>
                              <p:par>
                                <p:cTn id="82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7500"/>
                            </p:stCondLst>
                            <p:childTnLst>
                              <p:par>
                                <p:cTn id="8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8000"/>
                            </p:stCondLst>
                            <p:childTnLst>
                              <p:par>
                                <p:cTn id="95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8500"/>
                            </p:stCondLst>
                            <p:childTnLst>
                              <p:par>
                                <p:cTn id="100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9000"/>
                            </p:stCondLst>
                            <p:childTnLst>
                              <p:par>
                                <p:cTn id="105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9500"/>
                            </p:stCondLst>
                            <p:childTnLst>
                              <p:par>
                                <p:cTn id="110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10000"/>
                            </p:stCondLst>
                            <p:childTnLst>
                              <p:par>
                                <p:cTn id="11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2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/>
      <p:bldP spid="7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8" grpId="0" animBg="1"/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3" grpId="0"/>
      <p:bldP spid="64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6" grpId="0" animBg="1"/>
      <p:bldP spid="6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/>
      <p:bldP spid="6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0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1" grpId="0" animBg="1"/>
      <p:bldP spid="7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/>
      <p:bldP spid="74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0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1" grpId="0" animBg="1"/>
      <p:bldP spid="8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3" grpId="0"/>
      <p:bldP spid="84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6" grpId="0" animBg="1"/>
      <p:bldP spid="8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31" name="Group 300"/>
          <p:cNvGrpSpPr/>
          <p:nvPr userDrawn="1"/>
        </p:nvGrpSpPr>
        <p:grpSpPr>
          <a:xfrm>
            <a:off x="459050" y="1404662"/>
            <a:ext cx="3882522" cy="2030568"/>
            <a:chOff x="2844800" y="1304396"/>
            <a:chExt cx="2803525" cy="1466250"/>
          </a:xfrm>
        </p:grpSpPr>
        <p:grpSp>
          <p:nvGrpSpPr>
            <p:cNvPr id="32" name="Group 44"/>
            <p:cNvGrpSpPr/>
            <p:nvPr/>
          </p:nvGrpSpPr>
          <p:grpSpPr>
            <a:xfrm>
              <a:off x="3209925" y="1304396"/>
              <a:ext cx="2073275" cy="1397000"/>
              <a:chOff x="4843457" y="992546"/>
              <a:chExt cx="2073275" cy="1397000"/>
            </a:xfrm>
          </p:grpSpPr>
          <p:sp>
            <p:nvSpPr>
              <p:cNvPr id="37" name="Freeform 12"/>
              <p:cNvSpPr>
                <a:spLocks/>
              </p:cNvSpPr>
              <p:nvPr/>
            </p:nvSpPr>
            <p:spPr bwMode="auto">
              <a:xfrm>
                <a:off x="4843457" y="992546"/>
                <a:ext cx="2073275" cy="1397000"/>
              </a:xfrm>
              <a:custGeom>
                <a:avLst/>
                <a:gdLst/>
                <a:ahLst/>
                <a:cxnLst>
                  <a:cxn ang="0">
                    <a:pos x="1146" y="737"/>
                  </a:cxn>
                  <a:cxn ang="0">
                    <a:pos x="1120" y="772"/>
                  </a:cxn>
                  <a:cxn ang="0">
                    <a:pos x="26" y="772"/>
                  </a:cxn>
                  <a:cxn ang="0">
                    <a:pos x="0" y="737"/>
                  </a:cxn>
                  <a:cxn ang="0">
                    <a:pos x="0" y="35"/>
                  </a:cxn>
                  <a:cxn ang="0">
                    <a:pos x="26" y="0"/>
                  </a:cxn>
                  <a:cxn ang="0">
                    <a:pos x="1120" y="0"/>
                  </a:cxn>
                  <a:cxn ang="0">
                    <a:pos x="1146" y="35"/>
                  </a:cxn>
                  <a:cxn ang="0">
                    <a:pos x="1146" y="737"/>
                  </a:cxn>
                </a:cxnLst>
                <a:rect l="0" t="0" r="r" b="b"/>
                <a:pathLst>
                  <a:path w="1146" h="772">
                    <a:moveTo>
                      <a:pt x="1146" y="737"/>
                    </a:moveTo>
                    <a:cubicBezTo>
                      <a:pt x="1146" y="756"/>
                      <a:pt x="1134" y="772"/>
                      <a:pt x="1120" y="772"/>
                    </a:cubicBezTo>
                    <a:cubicBezTo>
                      <a:pt x="26" y="772"/>
                      <a:pt x="26" y="772"/>
                      <a:pt x="26" y="772"/>
                    </a:cubicBezTo>
                    <a:cubicBezTo>
                      <a:pt x="12" y="772"/>
                      <a:pt x="0" y="756"/>
                      <a:pt x="0" y="737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16"/>
                      <a:pt x="12" y="0"/>
                      <a:pt x="26" y="0"/>
                    </a:cubicBezTo>
                    <a:cubicBezTo>
                      <a:pt x="1120" y="0"/>
                      <a:pt x="1120" y="0"/>
                      <a:pt x="1120" y="0"/>
                    </a:cubicBezTo>
                    <a:cubicBezTo>
                      <a:pt x="1134" y="0"/>
                      <a:pt x="1146" y="16"/>
                      <a:pt x="1146" y="35"/>
                    </a:cubicBezTo>
                    <a:cubicBezTo>
                      <a:pt x="1146" y="737"/>
                      <a:pt x="1146" y="737"/>
                      <a:pt x="1146" y="737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13"/>
              <p:cNvSpPr>
                <a:spLocks noChangeArrowheads="1"/>
              </p:cNvSpPr>
              <p:nvPr/>
            </p:nvSpPr>
            <p:spPr bwMode="auto">
              <a:xfrm>
                <a:off x="4926007" y="1068746"/>
                <a:ext cx="1914525" cy="11811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1"/>
              <p:cNvSpPr>
                <a:spLocks/>
              </p:cNvSpPr>
              <p:nvPr/>
            </p:nvSpPr>
            <p:spPr bwMode="auto">
              <a:xfrm>
                <a:off x="4936351" y="1068746"/>
                <a:ext cx="1901825" cy="1089025"/>
              </a:xfrm>
              <a:custGeom>
                <a:avLst/>
                <a:gdLst/>
                <a:ahLst/>
                <a:cxnLst>
                  <a:cxn ang="0">
                    <a:pos x="1198" y="0"/>
                  </a:cxn>
                  <a:cxn ang="0">
                    <a:pos x="0" y="0"/>
                  </a:cxn>
                  <a:cxn ang="0">
                    <a:pos x="1198" y="686"/>
                  </a:cxn>
                  <a:cxn ang="0">
                    <a:pos x="1198" y="0"/>
                  </a:cxn>
                </a:cxnLst>
                <a:rect l="0" t="0" r="r" b="b"/>
                <a:pathLst>
                  <a:path w="1198" h="686">
                    <a:moveTo>
                      <a:pt x="1198" y="0"/>
                    </a:moveTo>
                    <a:lnTo>
                      <a:pt x="0" y="0"/>
                    </a:lnTo>
                    <a:lnTo>
                      <a:pt x="1198" y="686"/>
                    </a:lnTo>
                    <a:lnTo>
                      <a:pt x="1198" y="0"/>
                    </a:lnTo>
                    <a:close/>
                  </a:path>
                </a:pathLst>
              </a:custGeom>
              <a:solidFill>
                <a:schemeClr val="bg1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" name="Group 43"/>
            <p:cNvGrpSpPr/>
            <p:nvPr/>
          </p:nvGrpSpPr>
          <p:grpSpPr>
            <a:xfrm>
              <a:off x="2844800" y="2648409"/>
              <a:ext cx="2803525" cy="122237"/>
              <a:chOff x="4462463" y="2425701"/>
              <a:chExt cx="2803525" cy="122237"/>
            </a:xfrm>
          </p:grpSpPr>
          <p:sp>
            <p:nvSpPr>
              <p:cNvPr id="34" name="Freeform 15"/>
              <p:cNvSpPr>
                <a:spLocks/>
              </p:cNvSpPr>
              <p:nvPr/>
            </p:nvSpPr>
            <p:spPr bwMode="auto">
              <a:xfrm>
                <a:off x="4462463" y="2481263"/>
                <a:ext cx="2800350" cy="66675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68" y="37"/>
                  </a:cxn>
                  <a:cxn ang="0">
                    <a:pos x="1487" y="37"/>
                  </a:cxn>
                  <a:cxn ang="0">
                    <a:pos x="1546" y="12"/>
                  </a:cxn>
                  <a:cxn ang="0">
                    <a:pos x="1547" y="0"/>
                  </a:cxn>
                  <a:cxn ang="0">
                    <a:pos x="10" y="5"/>
                  </a:cxn>
                </a:cxnLst>
                <a:rect l="0" t="0" r="r" b="b"/>
                <a:pathLst>
                  <a:path w="1547" h="37">
                    <a:moveTo>
                      <a:pt x="10" y="5"/>
                    </a:moveTo>
                    <a:cubicBezTo>
                      <a:pt x="10" y="5"/>
                      <a:pt x="0" y="23"/>
                      <a:pt x="68" y="37"/>
                    </a:cubicBezTo>
                    <a:cubicBezTo>
                      <a:pt x="1487" y="37"/>
                      <a:pt x="1487" y="37"/>
                      <a:pt x="1487" y="37"/>
                    </a:cubicBezTo>
                    <a:cubicBezTo>
                      <a:pt x="1487" y="37"/>
                      <a:pt x="1534" y="34"/>
                      <a:pt x="1546" y="12"/>
                    </a:cubicBezTo>
                    <a:cubicBezTo>
                      <a:pt x="1547" y="0"/>
                      <a:pt x="1547" y="0"/>
                      <a:pt x="1547" y="0"/>
                    </a:cubicBezTo>
                    <a:lnTo>
                      <a:pt x="10" y="5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16"/>
              <p:cNvSpPr>
                <a:spLocks/>
              </p:cNvSpPr>
              <p:nvPr/>
            </p:nvSpPr>
            <p:spPr bwMode="auto">
              <a:xfrm>
                <a:off x="4478338" y="2425701"/>
                <a:ext cx="2787650" cy="8413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38"/>
                  </a:cxn>
                  <a:cxn ang="0">
                    <a:pos x="16" y="43"/>
                  </a:cxn>
                  <a:cxn ang="0">
                    <a:pos x="1522" y="43"/>
                  </a:cxn>
                  <a:cxn ang="0">
                    <a:pos x="1538" y="40"/>
                  </a:cxn>
                  <a:cxn ang="0">
                    <a:pos x="1538" y="0"/>
                  </a:cxn>
                  <a:cxn ang="0">
                    <a:pos x="1" y="0"/>
                  </a:cxn>
                </a:cxnLst>
                <a:rect l="0" t="0" r="r" b="b"/>
                <a:pathLst>
                  <a:path w="1540" h="47">
                    <a:moveTo>
                      <a:pt x="1" y="0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1" y="47"/>
                      <a:pt x="16" y="43"/>
                      <a:pt x="16" y="43"/>
                    </a:cubicBezTo>
                    <a:cubicBezTo>
                      <a:pt x="1522" y="43"/>
                      <a:pt x="1522" y="43"/>
                      <a:pt x="1522" y="43"/>
                    </a:cubicBezTo>
                    <a:cubicBezTo>
                      <a:pt x="1540" y="45"/>
                      <a:pt x="1538" y="40"/>
                      <a:pt x="1538" y="40"/>
                    </a:cubicBezTo>
                    <a:cubicBezTo>
                      <a:pt x="1538" y="0"/>
                      <a:pt x="1538" y="0"/>
                      <a:pt x="1538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gradFill>
                <a:gsLst>
                  <a:gs pos="42000">
                    <a:schemeClr val="bg1">
                      <a:lumMod val="75000"/>
                    </a:schemeClr>
                  </a:gs>
                  <a:gs pos="6000">
                    <a:schemeClr val="bg1">
                      <a:lumMod val="85000"/>
                    </a:schemeClr>
                  </a:gs>
                  <a:gs pos="0">
                    <a:schemeClr val="bg1">
                      <a:lumMod val="65000"/>
                    </a:schemeClr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1"/>
              <p:cNvSpPr>
                <a:spLocks/>
              </p:cNvSpPr>
              <p:nvPr/>
            </p:nvSpPr>
            <p:spPr bwMode="auto">
              <a:xfrm>
                <a:off x="5672138" y="2425701"/>
                <a:ext cx="392113" cy="44450"/>
              </a:xfrm>
              <a:custGeom>
                <a:avLst/>
                <a:gdLst/>
                <a:ahLst/>
                <a:cxnLst>
                  <a:cxn ang="0">
                    <a:pos x="20" y="22"/>
                  </a:cxn>
                  <a:cxn ang="0">
                    <a:pos x="198" y="22"/>
                  </a:cxn>
                  <a:cxn ang="0">
                    <a:pos x="215" y="1"/>
                  </a:cxn>
                  <a:cxn ang="0">
                    <a:pos x="6" y="0"/>
                  </a:cxn>
                  <a:cxn ang="0">
                    <a:pos x="20" y="22"/>
                  </a:cxn>
                </a:cxnLst>
                <a:rect l="0" t="0" r="r" b="b"/>
                <a:pathLst>
                  <a:path w="217" h="25">
                    <a:moveTo>
                      <a:pt x="20" y="22"/>
                    </a:moveTo>
                    <a:cubicBezTo>
                      <a:pt x="198" y="22"/>
                      <a:pt x="198" y="22"/>
                      <a:pt x="198" y="22"/>
                    </a:cubicBezTo>
                    <a:cubicBezTo>
                      <a:pt x="198" y="22"/>
                      <a:pt x="217" y="25"/>
                      <a:pt x="2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0" y="20"/>
                      <a:pt x="20" y="22"/>
                    </a:cubicBezTo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079022" y="1510190"/>
            <a:ext cx="2651372" cy="163567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269202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/>
    </p:bld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8" name="Group 29"/>
          <p:cNvGrpSpPr/>
          <p:nvPr userDrawn="1"/>
        </p:nvGrpSpPr>
        <p:grpSpPr>
          <a:xfrm>
            <a:off x="3850314" y="1298511"/>
            <a:ext cx="1459144" cy="3116663"/>
            <a:chOff x="3205386" y="1562392"/>
            <a:chExt cx="1459144" cy="3116662"/>
          </a:xfrm>
          <a:effectLst/>
        </p:grpSpPr>
        <p:sp>
          <p:nvSpPr>
            <p:cNvPr id="19" name="Freeform 18"/>
            <p:cNvSpPr/>
            <p:nvPr/>
          </p:nvSpPr>
          <p:spPr>
            <a:xfrm>
              <a:off x="3205386" y="1579715"/>
              <a:ext cx="1459144" cy="3099339"/>
            </a:xfrm>
            <a:custGeom>
              <a:avLst/>
              <a:gdLst>
                <a:gd name="connsiteX0" fmla="*/ 0 w 1459144"/>
                <a:gd name="connsiteY0" fmla="*/ 176060 h 3099339"/>
                <a:gd name="connsiteX1" fmla="*/ 51567 w 1459144"/>
                <a:gd name="connsiteY1" fmla="*/ 51567 h 3099339"/>
                <a:gd name="connsiteX2" fmla="*/ 176060 w 1459144"/>
                <a:gd name="connsiteY2" fmla="*/ 0 h 3099339"/>
                <a:gd name="connsiteX3" fmla="*/ 1283084 w 1459144"/>
                <a:gd name="connsiteY3" fmla="*/ 0 h 3099339"/>
                <a:gd name="connsiteX4" fmla="*/ 1407577 w 1459144"/>
                <a:gd name="connsiteY4" fmla="*/ 51567 h 3099339"/>
                <a:gd name="connsiteX5" fmla="*/ 1459144 w 1459144"/>
                <a:gd name="connsiteY5" fmla="*/ 176060 h 3099339"/>
                <a:gd name="connsiteX6" fmla="*/ 1459144 w 1459144"/>
                <a:gd name="connsiteY6" fmla="*/ 2923279 h 3099339"/>
                <a:gd name="connsiteX7" fmla="*/ 1407577 w 1459144"/>
                <a:gd name="connsiteY7" fmla="*/ 3047772 h 3099339"/>
                <a:gd name="connsiteX8" fmla="*/ 1283084 w 1459144"/>
                <a:gd name="connsiteY8" fmla="*/ 3099339 h 3099339"/>
                <a:gd name="connsiteX9" fmla="*/ 176060 w 1459144"/>
                <a:gd name="connsiteY9" fmla="*/ 3099339 h 3099339"/>
                <a:gd name="connsiteX10" fmla="*/ 51567 w 1459144"/>
                <a:gd name="connsiteY10" fmla="*/ 3047772 h 3099339"/>
                <a:gd name="connsiteX11" fmla="*/ 0 w 1459144"/>
                <a:gd name="connsiteY11" fmla="*/ 2923279 h 3099339"/>
                <a:gd name="connsiteX12" fmla="*/ 0 w 1459144"/>
                <a:gd name="connsiteY12" fmla="*/ 176060 h 309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9144" h="3099339">
                  <a:moveTo>
                    <a:pt x="0" y="176060"/>
                  </a:moveTo>
                  <a:cubicBezTo>
                    <a:pt x="0" y="129366"/>
                    <a:pt x="18549" y="84584"/>
                    <a:pt x="51567" y="51567"/>
                  </a:cubicBezTo>
                  <a:cubicBezTo>
                    <a:pt x="84585" y="18549"/>
                    <a:pt x="129366" y="0"/>
                    <a:pt x="176060" y="0"/>
                  </a:cubicBezTo>
                  <a:lnTo>
                    <a:pt x="1283084" y="0"/>
                  </a:lnTo>
                  <a:cubicBezTo>
                    <a:pt x="1329778" y="0"/>
                    <a:pt x="1374560" y="18549"/>
                    <a:pt x="1407577" y="51567"/>
                  </a:cubicBezTo>
                  <a:cubicBezTo>
                    <a:pt x="1440595" y="84585"/>
                    <a:pt x="1459144" y="129366"/>
                    <a:pt x="1459144" y="176060"/>
                  </a:cubicBezTo>
                  <a:lnTo>
                    <a:pt x="1459144" y="2923279"/>
                  </a:lnTo>
                  <a:cubicBezTo>
                    <a:pt x="1459144" y="2969973"/>
                    <a:pt x="1440595" y="3014755"/>
                    <a:pt x="1407577" y="3047772"/>
                  </a:cubicBezTo>
                  <a:cubicBezTo>
                    <a:pt x="1374559" y="3080790"/>
                    <a:pt x="1329778" y="3099339"/>
                    <a:pt x="1283084" y="3099339"/>
                  </a:cubicBezTo>
                  <a:lnTo>
                    <a:pt x="176060" y="3099339"/>
                  </a:lnTo>
                  <a:cubicBezTo>
                    <a:pt x="129366" y="3099339"/>
                    <a:pt x="84584" y="3080790"/>
                    <a:pt x="51567" y="3047772"/>
                  </a:cubicBezTo>
                  <a:cubicBezTo>
                    <a:pt x="18549" y="3014754"/>
                    <a:pt x="0" y="2969973"/>
                    <a:pt x="0" y="2923279"/>
                  </a:cubicBezTo>
                  <a:lnTo>
                    <a:pt x="0" y="17606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3806686" y="4332856"/>
              <a:ext cx="256543" cy="261216"/>
            </a:xfrm>
            <a:custGeom>
              <a:avLst/>
              <a:gdLst>
                <a:gd name="connsiteX0" fmla="*/ 0 w 256543"/>
                <a:gd name="connsiteY0" fmla="*/ 130608 h 261216"/>
                <a:gd name="connsiteX1" fmla="*/ 36755 w 256543"/>
                <a:gd name="connsiteY1" fmla="*/ 39091 h 261216"/>
                <a:gd name="connsiteX2" fmla="*/ 128272 w 256543"/>
                <a:gd name="connsiteY2" fmla="*/ 0 h 261216"/>
                <a:gd name="connsiteX3" fmla="*/ 219789 w 256543"/>
                <a:gd name="connsiteY3" fmla="*/ 39091 h 261216"/>
                <a:gd name="connsiteX4" fmla="*/ 256544 w 256543"/>
                <a:gd name="connsiteY4" fmla="*/ 130608 h 261216"/>
                <a:gd name="connsiteX5" fmla="*/ 219789 w 256543"/>
                <a:gd name="connsiteY5" fmla="*/ 222125 h 261216"/>
                <a:gd name="connsiteX6" fmla="*/ 128272 w 256543"/>
                <a:gd name="connsiteY6" fmla="*/ 261216 h 261216"/>
                <a:gd name="connsiteX7" fmla="*/ 36755 w 256543"/>
                <a:gd name="connsiteY7" fmla="*/ 222125 h 261216"/>
                <a:gd name="connsiteX8" fmla="*/ 0 w 256543"/>
                <a:gd name="connsiteY8" fmla="*/ 130608 h 26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543" h="261216">
                  <a:moveTo>
                    <a:pt x="0" y="130608"/>
                  </a:moveTo>
                  <a:cubicBezTo>
                    <a:pt x="0" y="96377"/>
                    <a:pt x="13199" y="63514"/>
                    <a:pt x="36755" y="39091"/>
                  </a:cubicBezTo>
                  <a:cubicBezTo>
                    <a:pt x="60874" y="14086"/>
                    <a:pt x="93851" y="0"/>
                    <a:pt x="128272" y="0"/>
                  </a:cubicBezTo>
                  <a:cubicBezTo>
                    <a:pt x="162693" y="0"/>
                    <a:pt x="195670" y="14086"/>
                    <a:pt x="219789" y="39091"/>
                  </a:cubicBezTo>
                  <a:cubicBezTo>
                    <a:pt x="243346" y="63514"/>
                    <a:pt x="256544" y="96377"/>
                    <a:pt x="256544" y="130608"/>
                  </a:cubicBezTo>
                  <a:cubicBezTo>
                    <a:pt x="256544" y="164839"/>
                    <a:pt x="243345" y="197702"/>
                    <a:pt x="219789" y="222125"/>
                  </a:cubicBezTo>
                  <a:cubicBezTo>
                    <a:pt x="195670" y="247130"/>
                    <a:pt x="162693" y="261216"/>
                    <a:pt x="128272" y="261216"/>
                  </a:cubicBezTo>
                  <a:cubicBezTo>
                    <a:pt x="93851" y="261216"/>
                    <a:pt x="60874" y="247130"/>
                    <a:pt x="36755" y="222125"/>
                  </a:cubicBezTo>
                  <a:cubicBezTo>
                    <a:pt x="13198" y="197702"/>
                    <a:pt x="0" y="164839"/>
                    <a:pt x="0" y="130608"/>
                  </a:cubicBezTo>
                  <a:close/>
                </a:path>
              </a:pathLst>
            </a:cu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3306742" y="1997538"/>
              <a:ext cx="1256433" cy="2276759"/>
            </a:xfrm>
            <a:custGeom>
              <a:avLst/>
              <a:gdLst>
                <a:gd name="connsiteX0" fmla="*/ 0 w 1256433"/>
                <a:gd name="connsiteY0" fmla="*/ 0 h 2276759"/>
                <a:gd name="connsiteX1" fmla="*/ 1256433 w 1256433"/>
                <a:gd name="connsiteY1" fmla="*/ 0 h 2276759"/>
                <a:gd name="connsiteX2" fmla="*/ 1256433 w 1256433"/>
                <a:gd name="connsiteY2" fmla="*/ 2276759 h 2276759"/>
                <a:gd name="connsiteX3" fmla="*/ 0 w 1256433"/>
                <a:gd name="connsiteY3" fmla="*/ 2276759 h 2276759"/>
                <a:gd name="connsiteX4" fmla="*/ 0 w 1256433"/>
                <a:gd name="connsiteY4" fmla="*/ 0 h 2276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6433" h="2276759">
                  <a:moveTo>
                    <a:pt x="0" y="0"/>
                  </a:moveTo>
                  <a:lnTo>
                    <a:pt x="1256433" y="0"/>
                  </a:lnTo>
                  <a:lnTo>
                    <a:pt x="1256433" y="2276759"/>
                  </a:lnTo>
                  <a:lnTo>
                    <a:pt x="0" y="22767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eform 22"/>
            <p:cNvSpPr/>
            <p:nvPr/>
          </p:nvSpPr>
          <p:spPr>
            <a:xfrm>
              <a:off x="3796931" y="1824436"/>
              <a:ext cx="276054" cy="32124"/>
            </a:xfrm>
            <a:custGeom>
              <a:avLst/>
              <a:gdLst>
                <a:gd name="connsiteX0" fmla="*/ 0 w 276054"/>
                <a:gd name="connsiteY0" fmla="*/ 16062 h 32124"/>
                <a:gd name="connsiteX1" fmla="*/ 4704 w 276054"/>
                <a:gd name="connsiteY1" fmla="*/ 4704 h 32124"/>
                <a:gd name="connsiteX2" fmla="*/ 16062 w 276054"/>
                <a:gd name="connsiteY2" fmla="*/ 0 h 32124"/>
                <a:gd name="connsiteX3" fmla="*/ 259992 w 276054"/>
                <a:gd name="connsiteY3" fmla="*/ 0 h 32124"/>
                <a:gd name="connsiteX4" fmla="*/ 271350 w 276054"/>
                <a:gd name="connsiteY4" fmla="*/ 4704 h 32124"/>
                <a:gd name="connsiteX5" fmla="*/ 276054 w 276054"/>
                <a:gd name="connsiteY5" fmla="*/ 16062 h 32124"/>
                <a:gd name="connsiteX6" fmla="*/ 276054 w 276054"/>
                <a:gd name="connsiteY6" fmla="*/ 16062 h 32124"/>
                <a:gd name="connsiteX7" fmla="*/ 271350 w 276054"/>
                <a:gd name="connsiteY7" fmla="*/ 27420 h 32124"/>
                <a:gd name="connsiteX8" fmla="*/ 259992 w 276054"/>
                <a:gd name="connsiteY8" fmla="*/ 32124 h 32124"/>
                <a:gd name="connsiteX9" fmla="*/ 16062 w 276054"/>
                <a:gd name="connsiteY9" fmla="*/ 32124 h 32124"/>
                <a:gd name="connsiteX10" fmla="*/ 4704 w 276054"/>
                <a:gd name="connsiteY10" fmla="*/ 27420 h 32124"/>
                <a:gd name="connsiteX11" fmla="*/ 0 w 276054"/>
                <a:gd name="connsiteY11" fmla="*/ 16062 h 3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6054" h="32124">
                  <a:moveTo>
                    <a:pt x="0" y="16062"/>
                  </a:moveTo>
                  <a:cubicBezTo>
                    <a:pt x="0" y="11802"/>
                    <a:pt x="1692" y="7717"/>
                    <a:pt x="4704" y="4704"/>
                  </a:cubicBezTo>
                  <a:cubicBezTo>
                    <a:pt x="7716" y="1692"/>
                    <a:pt x="11802" y="0"/>
                    <a:pt x="16062" y="0"/>
                  </a:cubicBezTo>
                  <a:lnTo>
                    <a:pt x="259992" y="0"/>
                  </a:lnTo>
                  <a:cubicBezTo>
                    <a:pt x="264252" y="0"/>
                    <a:pt x="268337" y="1692"/>
                    <a:pt x="271350" y="4704"/>
                  </a:cubicBezTo>
                  <a:cubicBezTo>
                    <a:pt x="274362" y="7716"/>
                    <a:pt x="276054" y="11802"/>
                    <a:pt x="276054" y="16062"/>
                  </a:cubicBezTo>
                  <a:lnTo>
                    <a:pt x="276054" y="16062"/>
                  </a:lnTo>
                  <a:cubicBezTo>
                    <a:pt x="276054" y="20322"/>
                    <a:pt x="274362" y="24407"/>
                    <a:pt x="271350" y="27420"/>
                  </a:cubicBezTo>
                  <a:cubicBezTo>
                    <a:pt x="268338" y="30432"/>
                    <a:pt x="264252" y="32124"/>
                    <a:pt x="259992" y="32124"/>
                  </a:cubicBezTo>
                  <a:lnTo>
                    <a:pt x="16062" y="32124"/>
                  </a:lnTo>
                  <a:cubicBezTo>
                    <a:pt x="11802" y="32124"/>
                    <a:pt x="7717" y="30432"/>
                    <a:pt x="4704" y="27420"/>
                  </a:cubicBezTo>
                  <a:cubicBezTo>
                    <a:pt x="1692" y="24408"/>
                    <a:pt x="0" y="20322"/>
                    <a:pt x="0" y="1606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3911556" y="1704426"/>
              <a:ext cx="46804" cy="47657"/>
            </a:xfrm>
            <a:custGeom>
              <a:avLst/>
              <a:gdLst>
                <a:gd name="connsiteX0" fmla="*/ 0 w 46804"/>
                <a:gd name="connsiteY0" fmla="*/ 23829 h 47657"/>
                <a:gd name="connsiteX1" fmla="*/ 6705 w 46804"/>
                <a:gd name="connsiteY1" fmla="*/ 7132 h 47657"/>
                <a:gd name="connsiteX2" fmla="*/ 23402 w 46804"/>
                <a:gd name="connsiteY2" fmla="*/ 0 h 47657"/>
                <a:gd name="connsiteX3" fmla="*/ 40099 w 46804"/>
                <a:gd name="connsiteY3" fmla="*/ 7132 h 47657"/>
                <a:gd name="connsiteX4" fmla="*/ 46804 w 46804"/>
                <a:gd name="connsiteY4" fmla="*/ 23829 h 47657"/>
                <a:gd name="connsiteX5" fmla="*/ 40099 w 46804"/>
                <a:gd name="connsiteY5" fmla="*/ 40526 h 47657"/>
                <a:gd name="connsiteX6" fmla="*/ 23402 w 46804"/>
                <a:gd name="connsiteY6" fmla="*/ 47658 h 47657"/>
                <a:gd name="connsiteX7" fmla="*/ 6705 w 46804"/>
                <a:gd name="connsiteY7" fmla="*/ 40526 h 47657"/>
                <a:gd name="connsiteX8" fmla="*/ 0 w 46804"/>
                <a:gd name="connsiteY8" fmla="*/ 23829 h 4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804" h="47657">
                  <a:moveTo>
                    <a:pt x="0" y="23829"/>
                  </a:moveTo>
                  <a:cubicBezTo>
                    <a:pt x="0" y="17584"/>
                    <a:pt x="2408" y="11588"/>
                    <a:pt x="6705" y="7132"/>
                  </a:cubicBezTo>
                  <a:cubicBezTo>
                    <a:pt x="11105" y="2570"/>
                    <a:pt x="17122" y="0"/>
                    <a:pt x="23402" y="0"/>
                  </a:cubicBezTo>
                  <a:cubicBezTo>
                    <a:pt x="29682" y="0"/>
                    <a:pt x="35698" y="2570"/>
                    <a:pt x="40099" y="7132"/>
                  </a:cubicBezTo>
                  <a:cubicBezTo>
                    <a:pt x="44397" y="11588"/>
                    <a:pt x="46804" y="17583"/>
                    <a:pt x="46804" y="23829"/>
                  </a:cubicBezTo>
                  <a:cubicBezTo>
                    <a:pt x="46804" y="30074"/>
                    <a:pt x="44396" y="36070"/>
                    <a:pt x="40099" y="40526"/>
                  </a:cubicBezTo>
                  <a:cubicBezTo>
                    <a:pt x="35699" y="45088"/>
                    <a:pt x="29682" y="47658"/>
                    <a:pt x="23402" y="47658"/>
                  </a:cubicBezTo>
                  <a:cubicBezTo>
                    <a:pt x="17122" y="47658"/>
                    <a:pt x="11106" y="45088"/>
                    <a:pt x="6705" y="40526"/>
                  </a:cubicBezTo>
                  <a:cubicBezTo>
                    <a:pt x="2407" y="36070"/>
                    <a:pt x="0" y="30075"/>
                    <a:pt x="0" y="238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4293042" y="1562392"/>
              <a:ext cx="198758" cy="40154"/>
            </a:xfrm>
            <a:custGeom>
              <a:avLst/>
              <a:gdLst>
                <a:gd name="connsiteX0" fmla="*/ 0 w 198758"/>
                <a:gd name="connsiteY0" fmla="*/ 0 h 40154"/>
                <a:gd name="connsiteX1" fmla="*/ 198758 w 198758"/>
                <a:gd name="connsiteY1" fmla="*/ 0 h 40154"/>
                <a:gd name="connsiteX2" fmla="*/ 198758 w 198758"/>
                <a:gd name="connsiteY2" fmla="*/ 40154 h 40154"/>
                <a:gd name="connsiteX3" fmla="*/ 0 w 198758"/>
                <a:gd name="connsiteY3" fmla="*/ 40154 h 40154"/>
                <a:gd name="connsiteX4" fmla="*/ 0 w 198758"/>
                <a:gd name="connsiteY4" fmla="*/ 0 h 40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758" h="40154">
                  <a:moveTo>
                    <a:pt x="0" y="0"/>
                  </a:moveTo>
                  <a:lnTo>
                    <a:pt x="198758" y="0"/>
                  </a:lnTo>
                  <a:lnTo>
                    <a:pt x="198758" y="40154"/>
                  </a:lnTo>
                  <a:lnTo>
                    <a:pt x="0" y="401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951670" y="1727613"/>
            <a:ext cx="1256433" cy="2282803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2688118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89DFEC-7797-457D-8DC0-93D0FFF07B41}" type="datetime1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2020-06-12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>
                <a:solidFill>
                  <a:prstClr val="black">
                    <a:tint val="75000"/>
                  </a:prstClr>
                </a:solidFill>
              </a:rPr>
              <a:t>COPYRIGHT </a:t>
            </a:r>
            <a:r>
              <a:rPr lang="sk-SK">
                <a:solidFill>
                  <a:prstClr val="black">
                    <a:tint val="75000"/>
                  </a:prstClr>
                </a:solidFill>
              </a:rPr>
              <a:t>© 2018 </a:t>
            </a:r>
            <a:r>
              <a:rPr lang="en-CA">
                <a:solidFill>
                  <a:prstClr val="black">
                    <a:tint val="75000"/>
                  </a:prstClr>
                </a:solidFill>
              </a:rPr>
              <a:t>MARS INCORPORATED |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B8A89-AE5B-4A7A-ABF7-B35292E08C39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962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ckUp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 userDrawn="1"/>
        </p:nvSpPr>
        <p:spPr>
          <a:xfrm>
            <a:off x="0" y="3273754"/>
            <a:ext cx="9144000" cy="1869745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8" name="Straight Line buttom"/>
          <p:cNvCxnSpPr/>
          <p:nvPr userDrawn="1"/>
        </p:nvCxnSpPr>
        <p:spPr>
          <a:xfrm>
            <a:off x="0" y="3273754"/>
            <a:ext cx="9144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 userDrawn="1"/>
        </p:nvGrpSpPr>
        <p:grpSpPr>
          <a:xfrm>
            <a:off x="3328989" y="1450783"/>
            <a:ext cx="2552732" cy="2031086"/>
            <a:chOff x="2094899" y="1081795"/>
            <a:chExt cx="4400683" cy="3501414"/>
          </a:xfrm>
        </p:grpSpPr>
        <p:sp>
          <p:nvSpPr>
            <p:cNvPr id="20" name="Rectangle 19"/>
            <p:cNvSpPr/>
            <p:nvPr/>
          </p:nvSpPr>
          <p:spPr>
            <a:xfrm>
              <a:off x="2261198" y="1247618"/>
              <a:ext cx="4081379" cy="22598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  <p:sp>
          <p:nvSpPr>
            <p:cNvPr id="31" name="Freeform 5"/>
            <p:cNvSpPr>
              <a:spLocks noEditPoints="1"/>
            </p:cNvSpPr>
            <p:nvPr/>
          </p:nvSpPr>
          <p:spPr bwMode="auto">
            <a:xfrm>
              <a:off x="2094899" y="1081795"/>
              <a:ext cx="4400683" cy="2608522"/>
            </a:xfrm>
            <a:custGeom>
              <a:avLst/>
              <a:gdLst/>
              <a:ahLst/>
              <a:cxnLst>
                <a:cxn ang="0">
                  <a:pos x="1757" y="0"/>
                </a:cxn>
                <a:cxn ang="0">
                  <a:pos x="921" y="0"/>
                </a:cxn>
                <a:cxn ang="0">
                  <a:pos x="893" y="0"/>
                </a:cxn>
                <a:cxn ang="0">
                  <a:pos x="56" y="0"/>
                </a:cxn>
                <a:cxn ang="0">
                  <a:pos x="0" y="47"/>
                </a:cxn>
                <a:cxn ang="0">
                  <a:pos x="0" y="1076"/>
                </a:cxn>
                <a:cxn ang="0">
                  <a:pos x="1816" y="1076"/>
                </a:cxn>
                <a:cxn ang="0">
                  <a:pos x="1816" y="47"/>
                </a:cxn>
                <a:cxn ang="0">
                  <a:pos x="1757" y="0"/>
                </a:cxn>
                <a:cxn ang="0">
                  <a:pos x="1732" y="1000"/>
                </a:cxn>
                <a:cxn ang="0">
                  <a:pos x="76" y="1000"/>
                </a:cxn>
                <a:cxn ang="0">
                  <a:pos x="76" y="68"/>
                </a:cxn>
                <a:cxn ang="0">
                  <a:pos x="1732" y="68"/>
                </a:cxn>
                <a:cxn ang="0">
                  <a:pos x="1732" y="1000"/>
                </a:cxn>
              </a:cxnLst>
              <a:rect l="0" t="0" r="r" b="b"/>
              <a:pathLst>
                <a:path w="1816" h="1076">
                  <a:moveTo>
                    <a:pt x="1757" y="0"/>
                  </a:moveTo>
                  <a:cubicBezTo>
                    <a:pt x="921" y="0"/>
                    <a:pt x="921" y="0"/>
                    <a:pt x="921" y="0"/>
                  </a:cubicBezTo>
                  <a:cubicBezTo>
                    <a:pt x="893" y="0"/>
                    <a:pt x="893" y="0"/>
                    <a:pt x="89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27" y="0"/>
                    <a:pt x="0" y="17"/>
                    <a:pt x="0" y="47"/>
                  </a:cubicBezTo>
                  <a:cubicBezTo>
                    <a:pt x="0" y="1076"/>
                    <a:pt x="0" y="1076"/>
                    <a:pt x="0" y="1076"/>
                  </a:cubicBezTo>
                  <a:cubicBezTo>
                    <a:pt x="1816" y="1076"/>
                    <a:pt x="1816" y="1076"/>
                    <a:pt x="1816" y="1076"/>
                  </a:cubicBezTo>
                  <a:cubicBezTo>
                    <a:pt x="1816" y="47"/>
                    <a:pt x="1816" y="47"/>
                    <a:pt x="1816" y="47"/>
                  </a:cubicBezTo>
                  <a:cubicBezTo>
                    <a:pt x="1816" y="17"/>
                    <a:pt x="1787" y="0"/>
                    <a:pt x="1757" y="0"/>
                  </a:cubicBezTo>
                  <a:moveTo>
                    <a:pt x="1732" y="1000"/>
                  </a:moveTo>
                  <a:cubicBezTo>
                    <a:pt x="76" y="1000"/>
                    <a:pt x="76" y="1000"/>
                    <a:pt x="76" y="1000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1732" y="68"/>
                    <a:pt x="1732" y="68"/>
                    <a:pt x="1732" y="68"/>
                  </a:cubicBezTo>
                  <a:cubicBezTo>
                    <a:pt x="1732" y="1000"/>
                    <a:pt x="1732" y="1000"/>
                    <a:pt x="1732" y="1000"/>
                  </a:cubicBez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/>
            </a:p>
          </p:txBody>
        </p:sp>
        <p:sp>
          <p:nvSpPr>
            <p:cNvPr id="33" name="Freeform 23"/>
            <p:cNvSpPr>
              <a:spLocks/>
            </p:cNvSpPr>
            <p:nvPr/>
          </p:nvSpPr>
          <p:spPr bwMode="auto">
            <a:xfrm>
              <a:off x="2311744" y="1247618"/>
              <a:ext cx="3979748" cy="2259869"/>
            </a:xfrm>
            <a:custGeom>
              <a:avLst/>
              <a:gdLst/>
              <a:ahLst/>
              <a:cxnLst>
                <a:cxn ang="0">
                  <a:pos x="1872" y="0"/>
                </a:cxn>
                <a:cxn ang="0">
                  <a:pos x="0" y="0"/>
                </a:cxn>
                <a:cxn ang="0">
                  <a:pos x="1872" y="1063"/>
                </a:cxn>
                <a:cxn ang="0">
                  <a:pos x="1872" y="0"/>
                </a:cxn>
              </a:cxnLst>
              <a:rect l="0" t="0" r="r" b="b"/>
              <a:pathLst>
                <a:path w="1872" h="1063">
                  <a:moveTo>
                    <a:pt x="1872" y="0"/>
                  </a:moveTo>
                  <a:lnTo>
                    <a:pt x="0" y="0"/>
                  </a:lnTo>
                  <a:lnTo>
                    <a:pt x="1872" y="1063"/>
                  </a:lnTo>
                  <a:lnTo>
                    <a:pt x="1872" y="0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/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auto">
            <a:xfrm>
              <a:off x="2094899" y="3690315"/>
              <a:ext cx="4400683" cy="397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0"/>
                </a:cxn>
                <a:cxn ang="0">
                  <a:pos x="56" y="164"/>
                </a:cxn>
                <a:cxn ang="0">
                  <a:pos x="893" y="164"/>
                </a:cxn>
                <a:cxn ang="0">
                  <a:pos x="921" y="164"/>
                </a:cxn>
                <a:cxn ang="0">
                  <a:pos x="1757" y="164"/>
                </a:cxn>
                <a:cxn ang="0">
                  <a:pos x="1816" y="100"/>
                </a:cxn>
                <a:cxn ang="0">
                  <a:pos x="1816" y="0"/>
                </a:cxn>
                <a:cxn ang="0">
                  <a:pos x="0" y="0"/>
                </a:cxn>
              </a:cxnLst>
              <a:rect l="0" t="0" r="r" b="b"/>
              <a:pathLst>
                <a:path w="1816" h="164">
                  <a:moveTo>
                    <a:pt x="0" y="0"/>
                  </a:moveTo>
                  <a:cubicBezTo>
                    <a:pt x="0" y="100"/>
                    <a:pt x="0" y="100"/>
                    <a:pt x="0" y="100"/>
                  </a:cubicBezTo>
                  <a:cubicBezTo>
                    <a:pt x="0" y="130"/>
                    <a:pt x="27" y="164"/>
                    <a:pt x="56" y="164"/>
                  </a:cubicBezTo>
                  <a:cubicBezTo>
                    <a:pt x="893" y="164"/>
                    <a:pt x="893" y="164"/>
                    <a:pt x="893" y="164"/>
                  </a:cubicBezTo>
                  <a:cubicBezTo>
                    <a:pt x="921" y="164"/>
                    <a:pt x="921" y="164"/>
                    <a:pt x="921" y="164"/>
                  </a:cubicBezTo>
                  <a:cubicBezTo>
                    <a:pt x="1757" y="164"/>
                    <a:pt x="1757" y="164"/>
                    <a:pt x="1757" y="164"/>
                  </a:cubicBezTo>
                  <a:cubicBezTo>
                    <a:pt x="1787" y="164"/>
                    <a:pt x="1816" y="130"/>
                    <a:pt x="1816" y="100"/>
                  </a:cubicBezTo>
                  <a:cubicBezTo>
                    <a:pt x="1816" y="0"/>
                    <a:pt x="1816" y="0"/>
                    <a:pt x="1816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83000">
                  <a:schemeClr val="bg1">
                    <a:lumMod val="75000"/>
                  </a:schemeClr>
                </a:gs>
                <a:gs pos="54000">
                  <a:schemeClr val="bg1">
                    <a:lumMod val="85000"/>
                  </a:schemeClr>
                </a:gs>
              </a:gsLst>
              <a:lin ang="180000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r>
                <a:rPr lang="en-US"/>
                <a:t> </a:t>
              </a:r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auto">
            <a:xfrm>
              <a:off x="3506519" y="4087866"/>
              <a:ext cx="1590198" cy="495343"/>
            </a:xfrm>
            <a:custGeom>
              <a:avLst/>
              <a:gdLst/>
              <a:ahLst/>
              <a:cxnLst>
                <a:cxn ang="0">
                  <a:pos x="335" y="0"/>
                </a:cxn>
                <a:cxn ang="0">
                  <a:pos x="322" y="0"/>
                </a:cxn>
                <a:cxn ang="0">
                  <a:pos x="143" y="0"/>
                </a:cxn>
                <a:cxn ang="0">
                  <a:pos x="102" y="128"/>
                </a:cxn>
                <a:cxn ang="0">
                  <a:pos x="108" y="204"/>
                </a:cxn>
                <a:cxn ang="0">
                  <a:pos x="322" y="204"/>
                </a:cxn>
                <a:cxn ang="0">
                  <a:pos x="335" y="204"/>
                </a:cxn>
                <a:cxn ang="0">
                  <a:pos x="549" y="204"/>
                </a:cxn>
                <a:cxn ang="0">
                  <a:pos x="555" y="128"/>
                </a:cxn>
                <a:cxn ang="0">
                  <a:pos x="513" y="0"/>
                </a:cxn>
                <a:cxn ang="0">
                  <a:pos x="335" y="0"/>
                </a:cxn>
              </a:cxnLst>
              <a:rect l="0" t="0" r="r" b="b"/>
              <a:pathLst>
                <a:path w="656" h="204">
                  <a:moveTo>
                    <a:pt x="335" y="0"/>
                  </a:moveTo>
                  <a:cubicBezTo>
                    <a:pt x="322" y="0"/>
                    <a:pt x="322" y="0"/>
                    <a:pt x="322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2" y="88"/>
                    <a:pt x="102" y="128"/>
                  </a:cubicBezTo>
                  <a:cubicBezTo>
                    <a:pt x="62" y="169"/>
                    <a:pt x="0" y="204"/>
                    <a:pt x="108" y="204"/>
                  </a:cubicBezTo>
                  <a:cubicBezTo>
                    <a:pt x="322" y="204"/>
                    <a:pt x="322" y="204"/>
                    <a:pt x="322" y="204"/>
                  </a:cubicBezTo>
                  <a:cubicBezTo>
                    <a:pt x="335" y="204"/>
                    <a:pt x="335" y="204"/>
                    <a:pt x="335" y="204"/>
                  </a:cubicBezTo>
                  <a:cubicBezTo>
                    <a:pt x="549" y="204"/>
                    <a:pt x="549" y="204"/>
                    <a:pt x="549" y="204"/>
                  </a:cubicBezTo>
                  <a:cubicBezTo>
                    <a:pt x="656" y="204"/>
                    <a:pt x="594" y="169"/>
                    <a:pt x="555" y="128"/>
                  </a:cubicBezTo>
                  <a:cubicBezTo>
                    <a:pt x="515" y="88"/>
                    <a:pt x="513" y="0"/>
                    <a:pt x="513" y="0"/>
                  </a:cubicBezTo>
                  <a:lnTo>
                    <a:pt x="335" y="0"/>
                  </a:lnTo>
                  <a:close/>
                </a:path>
              </a:pathLst>
            </a:custGeom>
            <a:gradFill>
              <a:gsLst>
                <a:gs pos="42000">
                  <a:schemeClr val="bg1">
                    <a:lumMod val="75000"/>
                  </a:schemeClr>
                </a:gs>
                <a:gs pos="6000">
                  <a:schemeClr val="bg1">
                    <a:lumMod val="85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lin ang="540000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/>
            </a:p>
          </p:txBody>
        </p:sp>
      </p:grp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445151" y="1546974"/>
            <a:ext cx="2318183" cy="1310896"/>
          </a:xfrm>
          <a:prstGeom prst="rect">
            <a:avLst/>
          </a:prstGeom>
          <a:ln>
            <a:noFill/>
          </a:ln>
        </p:spPr>
        <p:txBody>
          <a:bodyPr tIns="0" bIns="27432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854467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2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/>
    </p:bld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8" name="Straight Line buttom"/>
          <p:cNvCxnSpPr/>
          <p:nvPr userDrawn="1"/>
        </p:nvCxnSpPr>
        <p:spPr>
          <a:xfrm>
            <a:off x="0" y="3272559"/>
            <a:ext cx="9144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 userDrawn="1"/>
        </p:nvSpPr>
        <p:spPr>
          <a:xfrm>
            <a:off x="0" y="3273754"/>
            <a:ext cx="9144000" cy="186974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oup 29"/>
          <p:cNvGrpSpPr/>
          <p:nvPr userDrawn="1"/>
        </p:nvGrpSpPr>
        <p:grpSpPr>
          <a:xfrm>
            <a:off x="677589" y="1073968"/>
            <a:ext cx="1647737" cy="3481853"/>
            <a:chOff x="3189614" y="1562392"/>
            <a:chExt cx="1474916" cy="3116662"/>
          </a:xfrm>
          <a:effectLst/>
        </p:grpSpPr>
        <p:sp>
          <p:nvSpPr>
            <p:cNvPr id="33" name="Freeform 32"/>
            <p:cNvSpPr/>
            <p:nvPr/>
          </p:nvSpPr>
          <p:spPr>
            <a:xfrm>
              <a:off x="3205386" y="1579715"/>
              <a:ext cx="1459144" cy="3099339"/>
            </a:xfrm>
            <a:custGeom>
              <a:avLst/>
              <a:gdLst>
                <a:gd name="connsiteX0" fmla="*/ 0 w 1459144"/>
                <a:gd name="connsiteY0" fmla="*/ 176060 h 3099339"/>
                <a:gd name="connsiteX1" fmla="*/ 51567 w 1459144"/>
                <a:gd name="connsiteY1" fmla="*/ 51567 h 3099339"/>
                <a:gd name="connsiteX2" fmla="*/ 176060 w 1459144"/>
                <a:gd name="connsiteY2" fmla="*/ 0 h 3099339"/>
                <a:gd name="connsiteX3" fmla="*/ 1283084 w 1459144"/>
                <a:gd name="connsiteY3" fmla="*/ 0 h 3099339"/>
                <a:gd name="connsiteX4" fmla="*/ 1407577 w 1459144"/>
                <a:gd name="connsiteY4" fmla="*/ 51567 h 3099339"/>
                <a:gd name="connsiteX5" fmla="*/ 1459144 w 1459144"/>
                <a:gd name="connsiteY5" fmla="*/ 176060 h 3099339"/>
                <a:gd name="connsiteX6" fmla="*/ 1459144 w 1459144"/>
                <a:gd name="connsiteY6" fmla="*/ 2923279 h 3099339"/>
                <a:gd name="connsiteX7" fmla="*/ 1407577 w 1459144"/>
                <a:gd name="connsiteY7" fmla="*/ 3047772 h 3099339"/>
                <a:gd name="connsiteX8" fmla="*/ 1283084 w 1459144"/>
                <a:gd name="connsiteY8" fmla="*/ 3099339 h 3099339"/>
                <a:gd name="connsiteX9" fmla="*/ 176060 w 1459144"/>
                <a:gd name="connsiteY9" fmla="*/ 3099339 h 3099339"/>
                <a:gd name="connsiteX10" fmla="*/ 51567 w 1459144"/>
                <a:gd name="connsiteY10" fmla="*/ 3047772 h 3099339"/>
                <a:gd name="connsiteX11" fmla="*/ 0 w 1459144"/>
                <a:gd name="connsiteY11" fmla="*/ 2923279 h 3099339"/>
                <a:gd name="connsiteX12" fmla="*/ 0 w 1459144"/>
                <a:gd name="connsiteY12" fmla="*/ 176060 h 309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9144" h="3099339">
                  <a:moveTo>
                    <a:pt x="0" y="176060"/>
                  </a:moveTo>
                  <a:cubicBezTo>
                    <a:pt x="0" y="129366"/>
                    <a:pt x="18549" y="84584"/>
                    <a:pt x="51567" y="51567"/>
                  </a:cubicBezTo>
                  <a:cubicBezTo>
                    <a:pt x="84585" y="18549"/>
                    <a:pt x="129366" y="0"/>
                    <a:pt x="176060" y="0"/>
                  </a:cubicBezTo>
                  <a:lnTo>
                    <a:pt x="1283084" y="0"/>
                  </a:lnTo>
                  <a:cubicBezTo>
                    <a:pt x="1329778" y="0"/>
                    <a:pt x="1374560" y="18549"/>
                    <a:pt x="1407577" y="51567"/>
                  </a:cubicBezTo>
                  <a:cubicBezTo>
                    <a:pt x="1440595" y="84585"/>
                    <a:pt x="1459144" y="129366"/>
                    <a:pt x="1459144" y="176060"/>
                  </a:cubicBezTo>
                  <a:lnTo>
                    <a:pt x="1459144" y="2923279"/>
                  </a:lnTo>
                  <a:cubicBezTo>
                    <a:pt x="1459144" y="2969973"/>
                    <a:pt x="1440595" y="3014755"/>
                    <a:pt x="1407577" y="3047772"/>
                  </a:cubicBezTo>
                  <a:cubicBezTo>
                    <a:pt x="1374559" y="3080790"/>
                    <a:pt x="1329778" y="3099339"/>
                    <a:pt x="1283084" y="3099339"/>
                  </a:cubicBezTo>
                  <a:lnTo>
                    <a:pt x="176060" y="3099339"/>
                  </a:lnTo>
                  <a:cubicBezTo>
                    <a:pt x="129366" y="3099339"/>
                    <a:pt x="84584" y="3080790"/>
                    <a:pt x="51567" y="3047772"/>
                  </a:cubicBezTo>
                  <a:cubicBezTo>
                    <a:pt x="18549" y="3014754"/>
                    <a:pt x="0" y="2969973"/>
                    <a:pt x="0" y="2923279"/>
                  </a:cubicBezTo>
                  <a:lnTo>
                    <a:pt x="0" y="17606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4" name="Group 20"/>
            <p:cNvGrpSpPr/>
            <p:nvPr/>
          </p:nvGrpSpPr>
          <p:grpSpPr>
            <a:xfrm>
              <a:off x="3189738" y="1991495"/>
              <a:ext cx="23663" cy="645898"/>
              <a:chOff x="3392428" y="1951545"/>
              <a:chExt cx="27432" cy="735419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3392428" y="1951545"/>
                <a:ext cx="18288" cy="172821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/>
              <p:cNvSpPr/>
              <p:nvPr/>
            </p:nvSpPr>
            <p:spPr>
              <a:xfrm>
                <a:off x="3401572" y="2289545"/>
                <a:ext cx="18288" cy="118872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3401572" y="2568092"/>
                <a:ext cx="18288" cy="118872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5" name="Freeform 34"/>
            <p:cNvSpPr/>
            <p:nvPr/>
          </p:nvSpPr>
          <p:spPr>
            <a:xfrm>
              <a:off x="3806686" y="4332856"/>
              <a:ext cx="256543" cy="261216"/>
            </a:xfrm>
            <a:custGeom>
              <a:avLst/>
              <a:gdLst>
                <a:gd name="connsiteX0" fmla="*/ 0 w 256543"/>
                <a:gd name="connsiteY0" fmla="*/ 130608 h 261216"/>
                <a:gd name="connsiteX1" fmla="*/ 36755 w 256543"/>
                <a:gd name="connsiteY1" fmla="*/ 39091 h 261216"/>
                <a:gd name="connsiteX2" fmla="*/ 128272 w 256543"/>
                <a:gd name="connsiteY2" fmla="*/ 0 h 261216"/>
                <a:gd name="connsiteX3" fmla="*/ 219789 w 256543"/>
                <a:gd name="connsiteY3" fmla="*/ 39091 h 261216"/>
                <a:gd name="connsiteX4" fmla="*/ 256544 w 256543"/>
                <a:gd name="connsiteY4" fmla="*/ 130608 h 261216"/>
                <a:gd name="connsiteX5" fmla="*/ 219789 w 256543"/>
                <a:gd name="connsiteY5" fmla="*/ 222125 h 261216"/>
                <a:gd name="connsiteX6" fmla="*/ 128272 w 256543"/>
                <a:gd name="connsiteY6" fmla="*/ 261216 h 261216"/>
                <a:gd name="connsiteX7" fmla="*/ 36755 w 256543"/>
                <a:gd name="connsiteY7" fmla="*/ 222125 h 261216"/>
                <a:gd name="connsiteX8" fmla="*/ 0 w 256543"/>
                <a:gd name="connsiteY8" fmla="*/ 130608 h 26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543" h="261216">
                  <a:moveTo>
                    <a:pt x="0" y="130608"/>
                  </a:moveTo>
                  <a:cubicBezTo>
                    <a:pt x="0" y="96377"/>
                    <a:pt x="13199" y="63514"/>
                    <a:pt x="36755" y="39091"/>
                  </a:cubicBezTo>
                  <a:cubicBezTo>
                    <a:pt x="60874" y="14086"/>
                    <a:pt x="93851" y="0"/>
                    <a:pt x="128272" y="0"/>
                  </a:cubicBezTo>
                  <a:cubicBezTo>
                    <a:pt x="162693" y="0"/>
                    <a:pt x="195670" y="14086"/>
                    <a:pt x="219789" y="39091"/>
                  </a:cubicBezTo>
                  <a:cubicBezTo>
                    <a:pt x="243346" y="63514"/>
                    <a:pt x="256544" y="96377"/>
                    <a:pt x="256544" y="130608"/>
                  </a:cubicBezTo>
                  <a:cubicBezTo>
                    <a:pt x="256544" y="164839"/>
                    <a:pt x="243345" y="197702"/>
                    <a:pt x="219789" y="222125"/>
                  </a:cubicBezTo>
                  <a:cubicBezTo>
                    <a:pt x="195670" y="247130"/>
                    <a:pt x="162693" y="261216"/>
                    <a:pt x="128272" y="261216"/>
                  </a:cubicBezTo>
                  <a:cubicBezTo>
                    <a:pt x="93851" y="261216"/>
                    <a:pt x="60874" y="247130"/>
                    <a:pt x="36755" y="222125"/>
                  </a:cubicBezTo>
                  <a:cubicBezTo>
                    <a:pt x="13198" y="197702"/>
                    <a:pt x="0" y="164839"/>
                    <a:pt x="0" y="130608"/>
                  </a:cubicBezTo>
                  <a:close/>
                </a:path>
              </a:pathLst>
            </a:cu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Freeform 35"/>
            <p:cNvSpPr/>
            <p:nvPr/>
          </p:nvSpPr>
          <p:spPr>
            <a:xfrm>
              <a:off x="3306742" y="1997538"/>
              <a:ext cx="1256433" cy="2276759"/>
            </a:xfrm>
            <a:custGeom>
              <a:avLst/>
              <a:gdLst>
                <a:gd name="connsiteX0" fmla="*/ 0 w 1256433"/>
                <a:gd name="connsiteY0" fmla="*/ 0 h 2276759"/>
                <a:gd name="connsiteX1" fmla="*/ 1256433 w 1256433"/>
                <a:gd name="connsiteY1" fmla="*/ 0 h 2276759"/>
                <a:gd name="connsiteX2" fmla="*/ 1256433 w 1256433"/>
                <a:gd name="connsiteY2" fmla="*/ 2276759 h 2276759"/>
                <a:gd name="connsiteX3" fmla="*/ 0 w 1256433"/>
                <a:gd name="connsiteY3" fmla="*/ 2276759 h 2276759"/>
                <a:gd name="connsiteX4" fmla="*/ 0 w 1256433"/>
                <a:gd name="connsiteY4" fmla="*/ 0 h 2276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6433" h="2276759">
                  <a:moveTo>
                    <a:pt x="0" y="0"/>
                  </a:moveTo>
                  <a:lnTo>
                    <a:pt x="1256433" y="0"/>
                  </a:lnTo>
                  <a:lnTo>
                    <a:pt x="1256433" y="2276759"/>
                  </a:lnTo>
                  <a:lnTo>
                    <a:pt x="0" y="22767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Freeform 36"/>
            <p:cNvSpPr/>
            <p:nvPr/>
          </p:nvSpPr>
          <p:spPr>
            <a:xfrm>
              <a:off x="3796931" y="1824436"/>
              <a:ext cx="276054" cy="32124"/>
            </a:xfrm>
            <a:custGeom>
              <a:avLst/>
              <a:gdLst>
                <a:gd name="connsiteX0" fmla="*/ 0 w 276054"/>
                <a:gd name="connsiteY0" fmla="*/ 16062 h 32124"/>
                <a:gd name="connsiteX1" fmla="*/ 4704 w 276054"/>
                <a:gd name="connsiteY1" fmla="*/ 4704 h 32124"/>
                <a:gd name="connsiteX2" fmla="*/ 16062 w 276054"/>
                <a:gd name="connsiteY2" fmla="*/ 0 h 32124"/>
                <a:gd name="connsiteX3" fmla="*/ 259992 w 276054"/>
                <a:gd name="connsiteY3" fmla="*/ 0 h 32124"/>
                <a:gd name="connsiteX4" fmla="*/ 271350 w 276054"/>
                <a:gd name="connsiteY4" fmla="*/ 4704 h 32124"/>
                <a:gd name="connsiteX5" fmla="*/ 276054 w 276054"/>
                <a:gd name="connsiteY5" fmla="*/ 16062 h 32124"/>
                <a:gd name="connsiteX6" fmla="*/ 276054 w 276054"/>
                <a:gd name="connsiteY6" fmla="*/ 16062 h 32124"/>
                <a:gd name="connsiteX7" fmla="*/ 271350 w 276054"/>
                <a:gd name="connsiteY7" fmla="*/ 27420 h 32124"/>
                <a:gd name="connsiteX8" fmla="*/ 259992 w 276054"/>
                <a:gd name="connsiteY8" fmla="*/ 32124 h 32124"/>
                <a:gd name="connsiteX9" fmla="*/ 16062 w 276054"/>
                <a:gd name="connsiteY9" fmla="*/ 32124 h 32124"/>
                <a:gd name="connsiteX10" fmla="*/ 4704 w 276054"/>
                <a:gd name="connsiteY10" fmla="*/ 27420 h 32124"/>
                <a:gd name="connsiteX11" fmla="*/ 0 w 276054"/>
                <a:gd name="connsiteY11" fmla="*/ 16062 h 3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6054" h="32124">
                  <a:moveTo>
                    <a:pt x="0" y="16062"/>
                  </a:moveTo>
                  <a:cubicBezTo>
                    <a:pt x="0" y="11802"/>
                    <a:pt x="1692" y="7717"/>
                    <a:pt x="4704" y="4704"/>
                  </a:cubicBezTo>
                  <a:cubicBezTo>
                    <a:pt x="7716" y="1692"/>
                    <a:pt x="11802" y="0"/>
                    <a:pt x="16062" y="0"/>
                  </a:cubicBezTo>
                  <a:lnTo>
                    <a:pt x="259992" y="0"/>
                  </a:lnTo>
                  <a:cubicBezTo>
                    <a:pt x="264252" y="0"/>
                    <a:pt x="268337" y="1692"/>
                    <a:pt x="271350" y="4704"/>
                  </a:cubicBezTo>
                  <a:cubicBezTo>
                    <a:pt x="274362" y="7716"/>
                    <a:pt x="276054" y="11802"/>
                    <a:pt x="276054" y="16062"/>
                  </a:cubicBezTo>
                  <a:lnTo>
                    <a:pt x="276054" y="16062"/>
                  </a:lnTo>
                  <a:cubicBezTo>
                    <a:pt x="276054" y="20322"/>
                    <a:pt x="274362" y="24407"/>
                    <a:pt x="271350" y="27420"/>
                  </a:cubicBezTo>
                  <a:cubicBezTo>
                    <a:pt x="268338" y="30432"/>
                    <a:pt x="264252" y="32124"/>
                    <a:pt x="259992" y="32124"/>
                  </a:cubicBezTo>
                  <a:lnTo>
                    <a:pt x="16062" y="32124"/>
                  </a:lnTo>
                  <a:cubicBezTo>
                    <a:pt x="11802" y="32124"/>
                    <a:pt x="7717" y="30432"/>
                    <a:pt x="4704" y="27420"/>
                  </a:cubicBezTo>
                  <a:cubicBezTo>
                    <a:pt x="1692" y="24408"/>
                    <a:pt x="0" y="20322"/>
                    <a:pt x="0" y="1606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Freeform 37"/>
            <p:cNvSpPr/>
            <p:nvPr/>
          </p:nvSpPr>
          <p:spPr>
            <a:xfrm>
              <a:off x="3911556" y="1704426"/>
              <a:ext cx="46804" cy="47657"/>
            </a:xfrm>
            <a:custGeom>
              <a:avLst/>
              <a:gdLst>
                <a:gd name="connsiteX0" fmla="*/ 0 w 46804"/>
                <a:gd name="connsiteY0" fmla="*/ 23829 h 47657"/>
                <a:gd name="connsiteX1" fmla="*/ 6705 w 46804"/>
                <a:gd name="connsiteY1" fmla="*/ 7132 h 47657"/>
                <a:gd name="connsiteX2" fmla="*/ 23402 w 46804"/>
                <a:gd name="connsiteY2" fmla="*/ 0 h 47657"/>
                <a:gd name="connsiteX3" fmla="*/ 40099 w 46804"/>
                <a:gd name="connsiteY3" fmla="*/ 7132 h 47657"/>
                <a:gd name="connsiteX4" fmla="*/ 46804 w 46804"/>
                <a:gd name="connsiteY4" fmla="*/ 23829 h 47657"/>
                <a:gd name="connsiteX5" fmla="*/ 40099 w 46804"/>
                <a:gd name="connsiteY5" fmla="*/ 40526 h 47657"/>
                <a:gd name="connsiteX6" fmla="*/ 23402 w 46804"/>
                <a:gd name="connsiteY6" fmla="*/ 47658 h 47657"/>
                <a:gd name="connsiteX7" fmla="*/ 6705 w 46804"/>
                <a:gd name="connsiteY7" fmla="*/ 40526 h 47657"/>
                <a:gd name="connsiteX8" fmla="*/ 0 w 46804"/>
                <a:gd name="connsiteY8" fmla="*/ 23829 h 4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804" h="47657">
                  <a:moveTo>
                    <a:pt x="0" y="23829"/>
                  </a:moveTo>
                  <a:cubicBezTo>
                    <a:pt x="0" y="17584"/>
                    <a:pt x="2408" y="11588"/>
                    <a:pt x="6705" y="7132"/>
                  </a:cubicBezTo>
                  <a:cubicBezTo>
                    <a:pt x="11105" y="2570"/>
                    <a:pt x="17122" y="0"/>
                    <a:pt x="23402" y="0"/>
                  </a:cubicBezTo>
                  <a:cubicBezTo>
                    <a:pt x="29682" y="0"/>
                    <a:pt x="35698" y="2570"/>
                    <a:pt x="40099" y="7132"/>
                  </a:cubicBezTo>
                  <a:cubicBezTo>
                    <a:pt x="44397" y="11588"/>
                    <a:pt x="46804" y="17583"/>
                    <a:pt x="46804" y="23829"/>
                  </a:cubicBezTo>
                  <a:cubicBezTo>
                    <a:pt x="46804" y="30074"/>
                    <a:pt x="44396" y="36070"/>
                    <a:pt x="40099" y="40526"/>
                  </a:cubicBezTo>
                  <a:cubicBezTo>
                    <a:pt x="35699" y="45088"/>
                    <a:pt x="29682" y="47658"/>
                    <a:pt x="23402" y="47658"/>
                  </a:cubicBezTo>
                  <a:cubicBezTo>
                    <a:pt x="17122" y="47658"/>
                    <a:pt x="11106" y="45088"/>
                    <a:pt x="6705" y="40526"/>
                  </a:cubicBezTo>
                  <a:cubicBezTo>
                    <a:pt x="2407" y="36070"/>
                    <a:pt x="0" y="30075"/>
                    <a:pt x="0" y="238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Freeform 38"/>
            <p:cNvSpPr/>
            <p:nvPr/>
          </p:nvSpPr>
          <p:spPr>
            <a:xfrm>
              <a:off x="4293042" y="1562392"/>
              <a:ext cx="198758" cy="40154"/>
            </a:xfrm>
            <a:custGeom>
              <a:avLst/>
              <a:gdLst>
                <a:gd name="connsiteX0" fmla="*/ 0 w 198758"/>
                <a:gd name="connsiteY0" fmla="*/ 0 h 40154"/>
                <a:gd name="connsiteX1" fmla="*/ 198758 w 198758"/>
                <a:gd name="connsiteY1" fmla="*/ 0 h 40154"/>
                <a:gd name="connsiteX2" fmla="*/ 198758 w 198758"/>
                <a:gd name="connsiteY2" fmla="*/ 40154 h 40154"/>
                <a:gd name="connsiteX3" fmla="*/ 0 w 198758"/>
                <a:gd name="connsiteY3" fmla="*/ 40154 h 40154"/>
                <a:gd name="connsiteX4" fmla="*/ 0 w 198758"/>
                <a:gd name="connsiteY4" fmla="*/ 0 h 40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758" h="40154">
                  <a:moveTo>
                    <a:pt x="0" y="0"/>
                  </a:moveTo>
                  <a:lnTo>
                    <a:pt x="198758" y="0"/>
                  </a:lnTo>
                  <a:lnTo>
                    <a:pt x="198758" y="40154"/>
                  </a:lnTo>
                  <a:lnTo>
                    <a:pt x="0" y="401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4" name="Picture 43" descr="shadow.png"/>
          <p:cNvPicPr>
            <a:picLocks noChangeAspect="1"/>
          </p:cNvPicPr>
          <p:nvPr userDrawn="1"/>
        </p:nvPicPr>
        <p:blipFill>
          <a:blip r:embed="rId2" cstate="print">
            <a:biLevel thresh="50000"/>
          </a:blip>
          <a:stretch>
            <a:fillRect/>
          </a:stretch>
        </p:blipFill>
        <p:spPr>
          <a:xfrm>
            <a:off x="376045" y="4555821"/>
            <a:ext cx="2320732" cy="238125"/>
          </a:xfrm>
          <a:prstGeom prst="rect">
            <a:avLst/>
          </a:prstGeom>
        </p:spPr>
      </p:pic>
      <p:sp>
        <p:nvSpPr>
          <p:cNvPr id="4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808441" y="1563804"/>
            <a:ext cx="1403654" cy="2539833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152379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animBg="1"/>
      <p:bldP spid="45" grpId="0"/>
    </p:bld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168751" y="1201795"/>
            <a:ext cx="4400683" cy="3501414"/>
            <a:chOff x="2094899" y="1081795"/>
            <a:chExt cx="4400683" cy="3501414"/>
          </a:xfrm>
        </p:grpSpPr>
        <p:sp>
          <p:nvSpPr>
            <p:cNvPr id="22" name="Rectangle 21"/>
            <p:cNvSpPr/>
            <p:nvPr/>
          </p:nvSpPr>
          <p:spPr>
            <a:xfrm>
              <a:off x="2261198" y="1247618"/>
              <a:ext cx="4081379" cy="22598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eform 5"/>
            <p:cNvSpPr>
              <a:spLocks noEditPoints="1"/>
            </p:cNvSpPr>
            <p:nvPr/>
          </p:nvSpPr>
          <p:spPr bwMode="auto">
            <a:xfrm>
              <a:off x="2094899" y="1081795"/>
              <a:ext cx="4400683" cy="2608522"/>
            </a:xfrm>
            <a:custGeom>
              <a:avLst/>
              <a:gdLst/>
              <a:ahLst/>
              <a:cxnLst>
                <a:cxn ang="0">
                  <a:pos x="1757" y="0"/>
                </a:cxn>
                <a:cxn ang="0">
                  <a:pos x="921" y="0"/>
                </a:cxn>
                <a:cxn ang="0">
                  <a:pos x="893" y="0"/>
                </a:cxn>
                <a:cxn ang="0">
                  <a:pos x="56" y="0"/>
                </a:cxn>
                <a:cxn ang="0">
                  <a:pos x="0" y="47"/>
                </a:cxn>
                <a:cxn ang="0">
                  <a:pos x="0" y="1076"/>
                </a:cxn>
                <a:cxn ang="0">
                  <a:pos x="1816" y="1076"/>
                </a:cxn>
                <a:cxn ang="0">
                  <a:pos x="1816" y="47"/>
                </a:cxn>
                <a:cxn ang="0">
                  <a:pos x="1757" y="0"/>
                </a:cxn>
                <a:cxn ang="0">
                  <a:pos x="1732" y="1000"/>
                </a:cxn>
                <a:cxn ang="0">
                  <a:pos x="76" y="1000"/>
                </a:cxn>
                <a:cxn ang="0">
                  <a:pos x="76" y="68"/>
                </a:cxn>
                <a:cxn ang="0">
                  <a:pos x="1732" y="68"/>
                </a:cxn>
                <a:cxn ang="0">
                  <a:pos x="1732" y="1000"/>
                </a:cxn>
              </a:cxnLst>
              <a:rect l="0" t="0" r="r" b="b"/>
              <a:pathLst>
                <a:path w="1816" h="1076">
                  <a:moveTo>
                    <a:pt x="1757" y="0"/>
                  </a:moveTo>
                  <a:cubicBezTo>
                    <a:pt x="921" y="0"/>
                    <a:pt x="921" y="0"/>
                    <a:pt x="921" y="0"/>
                  </a:cubicBezTo>
                  <a:cubicBezTo>
                    <a:pt x="893" y="0"/>
                    <a:pt x="893" y="0"/>
                    <a:pt x="89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27" y="0"/>
                    <a:pt x="0" y="17"/>
                    <a:pt x="0" y="47"/>
                  </a:cubicBezTo>
                  <a:cubicBezTo>
                    <a:pt x="0" y="1076"/>
                    <a:pt x="0" y="1076"/>
                    <a:pt x="0" y="1076"/>
                  </a:cubicBezTo>
                  <a:cubicBezTo>
                    <a:pt x="1816" y="1076"/>
                    <a:pt x="1816" y="1076"/>
                    <a:pt x="1816" y="1076"/>
                  </a:cubicBezTo>
                  <a:cubicBezTo>
                    <a:pt x="1816" y="47"/>
                    <a:pt x="1816" y="47"/>
                    <a:pt x="1816" y="47"/>
                  </a:cubicBezTo>
                  <a:cubicBezTo>
                    <a:pt x="1816" y="17"/>
                    <a:pt x="1787" y="0"/>
                    <a:pt x="1757" y="0"/>
                  </a:cubicBezTo>
                  <a:moveTo>
                    <a:pt x="1732" y="1000"/>
                  </a:moveTo>
                  <a:cubicBezTo>
                    <a:pt x="76" y="1000"/>
                    <a:pt x="76" y="1000"/>
                    <a:pt x="76" y="1000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1732" y="68"/>
                    <a:pt x="1732" y="68"/>
                    <a:pt x="1732" y="68"/>
                  </a:cubicBezTo>
                  <a:cubicBezTo>
                    <a:pt x="1732" y="1000"/>
                    <a:pt x="1732" y="1000"/>
                    <a:pt x="1732" y="1000"/>
                  </a:cubicBez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2311744" y="1247618"/>
              <a:ext cx="3979748" cy="2259869"/>
            </a:xfrm>
            <a:custGeom>
              <a:avLst/>
              <a:gdLst/>
              <a:ahLst/>
              <a:cxnLst>
                <a:cxn ang="0">
                  <a:pos x="1872" y="0"/>
                </a:cxn>
                <a:cxn ang="0">
                  <a:pos x="0" y="0"/>
                </a:cxn>
                <a:cxn ang="0">
                  <a:pos x="1872" y="1063"/>
                </a:cxn>
                <a:cxn ang="0">
                  <a:pos x="1872" y="0"/>
                </a:cxn>
              </a:cxnLst>
              <a:rect l="0" t="0" r="r" b="b"/>
              <a:pathLst>
                <a:path w="1872" h="1063">
                  <a:moveTo>
                    <a:pt x="1872" y="0"/>
                  </a:moveTo>
                  <a:lnTo>
                    <a:pt x="0" y="0"/>
                  </a:lnTo>
                  <a:lnTo>
                    <a:pt x="1872" y="1063"/>
                  </a:lnTo>
                  <a:lnTo>
                    <a:pt x="1872" y="0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7"/>
            <p:cNvSpPr>
              <a:spLocks/>
            </p:cNvSpPr>
            <p:nvPr/>
          </p:nvSpPr>
          <p:spPr bwMode="auto">
            <a:xfrm>
              <a:off x="2094899" y="3690315"/>
              <a:ext cx="4400683" cy="397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0"/>
                </a:cxn>
                <a:cxn ang="0">
                  <a:pos x="56" y="164"/>
                </a:cxn>
                <a:cxn ang="0">
                  <a:pos x="893" y="164"/>
                </a:cxn>
                <a:cxn ang="0">
                  <a:pos x="921" y="164"/>
                </a:cxn>
                <a:cxn ang="0">
                  <a:pos x="1757" y="164"/>
                </a:cxn>
                <a:cxn ang="0">
                  <a:pos x="1816" y="100"/>
                </a:cxn>
                <a:cxn ang="0">
                  <a:pos x="1816" y="0"/>
                </a:cxn>
                <a:cxn ang="0">
                  <a:pos x="0" y="0"/>
                </a:cxn>
              </a:cxnLst>
              <a:rect l="0" t="0" r="r" b="b"/>
              <a:pathLst>
                <a:path w="1816" h="164">
                  <a:moveTo>
                    <a:pt x="0" y="0"/>
                  </a:moveTo>
                  <a:cubicBezTo>
                    <a:pt x="0" y="100"/>
                    <a:pt x="0" y="100"/>
                    <a:pt x="0" y="100"/>
                  </a:cubicBezTo>
                  <a:cubicBezTo>
                    <a:pt x="0" y="130"/>
                    <a:pt x="27" y="164"/>
                    <a:pt x="56" y="164"/>
                  </a:cubicBezTo>
                  <a:cubicBezTo>
                    <a:pt x="893" y="164"/>
                    <a:pt x="893" y="164"/>
                    <a:pt x="893" y="164"/>
                  </a:cubicBezTo>
                  <a:cubicBezTo>
                    <a:pt x="921" y="164"/>
                    <a:pt x="921" y="164"/>
                    <a:pt x="921" y="164"/>
                  </a:cubicBezTo>
                  <a:cubicBezTo>
                    <a:pt x="1757" y="164"/>
                    <a:pt x="1757" y="164"/>
                    <a:pt x="1757" y="164"/>
                  </a:cubicBezTo>
                  <a:cubicBezTo>
                    <a:pt x="1787" y="164"/>
                    <a:pt x="1816" y="130"/>
                    <a:pt x="1816" y="100"/>
                  </a:cubicBezTo>
                  <a:cubicBezTo>
                    <a:pt x="1816" y="0"/>
                    <a:pt x="1816" y="0"/>
                    <a:pt x="1816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83000">
                  <a:schemeClr val="bg1">
                    <a:lumMod val="75000"/>
                  </a:schemeClr>
                </a:gs>
                <a:gs pos="54000">
                  <a:schemeClr val="bg1">
                    <a:lumMod val="85000"/>
                  </a:schemeClr>
                </a:gs>
              </a:gsLst>
              <a:lin ang="180000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/>
                <a:t> </a:t>
              </a:r>
            </a:p>
          </p:txBody>
        </p:sp>
        <p:sp>
          <p:nvSpPr>
            <p:cNvPr id="26" name="Freeform 29"/>
            <p:cNvSpPr>
              <a:spLocks/>
            </p:cNvSpPr>
            <p:nvPr/>
          </p:nvSpPr>
          <p:spPr bwMode="auto">
            <a:xfrm>
              <a:off x="3506519" y="4087866"/>
              <a:ext cx="1590198" cy="495343"/>
            </a:xfrm>
            <a:custGeom>
              <a:avLst/>
              <a:gdLst/>
              <a:ahLst/>
              <a:cxnLst>
                <a:cxn ang="0">
                  <a:pos x="335" y="0"/>
                </a:cxn>
                <a:cxn ang="0">
                  <a:pos x="322" y="0"/>
                </a:cxn>
                <a:cxn ang="0">
                  <a:pos x="143" y="0"/>
                </a:cxn>
                <a:cxn ang="0">
                  <a:pos x="102" y="128"/>
                </a:cxn>
                <a:cxn ang="0">
                  <a:pos x="108" y="204"/>
                </a:cxn>
                <a:cxn ang="0">
                  <a:pos x="322" y="204"/>
                </a:cxn>
                <a:cxn ang="0">
                  <a:pos x="335" y="204"/>
                </a:cxn>
                <a:cxn ang="0">
                  <a:pos x="549" y="204"/>
                </a:cxn>
                <a:cxn ang="0">
                  <a:pos x="555" y="128"/>
                </a:cxn>
                <a:cxn ang="0">
                  <a:pos x="513" y="0"/>
                </a:cxn>
                <a:cxn ang="0">
                  <a:pos x="335" y="0"/>
                </a:cxn>
              </a:cxnLst>
              <a:rect l="0" t="0" r="r" b="b"/>
              <a:pathLst>
                <a:path w="656" h="204">
                  <a:moveTo>
                    <a:pt x="335" y="0"/>
                  </a:moveTo>
                  <a:cubicBezTo>
                    <a:pt x="322" y="0"/>
                    <a:pt x="322" y="0"/>
                    <a:pt x="322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2" y="88"/>
                    <a:pt x="102" y="128"/>
                  </a:cubicBezTo>
                  <a:cubicBezTo>
                    <a:pt x="62" y="169"/>
                    <a:pt x="0" y="204"/>
                    <a:pt x="108" y="204"/>
                  </a:cubicBezTo>
                  <a:cubicBezTo>
                    <a:pt x="322" y="204"/>
                    <a:pt x="322" y="204"/>
                    <a:pt x="322" y="204"/>
                  </a:cubicBezTo>
                  <a:cubicBezTo>
                    <a:pt x="335" y="204"/>
                    <a:pt x="335" y="204"/>
                    <a:pt x="335" y="204"/>
                  </a:cubicBezTo>
                  <a:cubicBezTo>
                    <a:pt x="549" y="204"/>
                    <a:pt x="549" y="204"/>
                    <a:pt x="549" y="204"/>
                  </a:cubicBezTo>
                  <a:cubicBezTo>
                    <a:pt x="656" y="204"/>
                    <a:pt x="594" y="169"/>
                    <a:pt x="555" y="128"/>
                  </a:cubicBezTo>
                  <a:cubicBezTo>
                    <a:pt x="515" y="88"/>
                    <a:pt x="513" y="0"/>
                    <a:pt x="513" y="0"/>
                  </a:cubicBezTo>
                  <a:lnTo>
                    <a:pt x="335" y="0"/>
                  </a:lnTo>
                  <a:close/>
                </a:path>
              </a:pathLst>
            </a:custGeom>
            <a:gradFill>
              <a:gsLst>
                <a:gs pos="42000">
                  <a:schemeClr val="bg1">
                    <a:lumMod val="75000"/>
                  </a:schemeClr>
                </a:gs>
                <a:gs pos="6000">
                  <a:schemeClr val="bg1">
                    <a:lumMod val="85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lin ang="540000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356720" y="1367618"/>
            <a:ext cx="4008623" cy="225986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64276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/>
    </p:bld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2908630" y="1255684"/>
            <a:ext cx="3326740" cy="4311630"/>
            <a:chOff x="2908630" y="1255684"/>
            <a:chExt cx="3326740" cy="4311630"/>
          </a:xfrm>
        </p:grpSpPr>
        <p:grpSp>
          <p:nvGrpSpPr>
            <p:cNvPr id="14" name="Group 66"/>
            <p:cNvGrpSpPr/>
            <p:nvPr/>
          </p:nvGrpSpPr>
          <p:grpSpPr>
            <a:xfrm>
              <a:off x="2908630" y="1255684"/>
              <a:ext cx="3326740" cy="4311630"/>
              <a:chOff x="1208088" y="2017712"/>
              <a:chExt cx="1206500" cy="1563688"/>
            </a:xfrm>
          </p:grpSpPr>
          <p:sp>
            <p:nvSpPr>
              <p:cNvPr id="18" name="Rectangle 6"/>
              <p:cNvSpPr>
                <a:spLocks noChangeArrowheads="1"/>
              </p:cNvSpPr>
              <p:nvPr/>
            </p:nvSpPr>
            <p:spPr bwMode="auto">
              <a:xfrm>
                <a:off x="1319213" y="2152650"/>
                <a:ext cx="969963" cy="1296988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7"/>
              <p:cNvSpPr>
                <a:spLocks noChangeArrowheads="1"/>
              </p:cNvSpPr>
              <p:nvPr/>
            </p:nvSpPr>
            <p:spPr bwMode="auto">
              <a:xfrm>
                <a:off x="1319213" y="2152650"/>
                <a:ext cx="969963" cy="12969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8"/>
              <p:cNvSpPr>
                <a:spLocks noEditPoints="1"/>
              </p:cNvSpPr>
              <p:nvPr/>
            </p:nvSpPr>
            <p:spPr bwMode="auto">
              <a:xfrm>
                <a:off x="1208088" y="2017712"/>
                <a:ext cx="1206500" cy="1563688"/>
              </a:xfrm>
              <a:custGeom>
                <a:avLst/>
                <a:gdLst/>
                <a:ahLst/>
                <a:cxnLst>
                  <a:cxn ang="0">
                    <a:pos x="666" y="35"/>
                  </a:cxn>
                  <a:cxn ang="0">
                    <a:pos x="631" y="0"/>
                  </a:cxn>
                  <a:cxn ang="0">
                    <a:pos x="34" y="0"/>
                  </a:cxn>
                  <a:cxn ang="0">
                    <a:pos x="0" y="35"/>
                  </a:cxn>
                  <a:cxn ang="0">
                    <a:pos x="0" y="829"/>
                  </a:cxn>
                  <a:cxn ang="0">
                    <a:pos x="34" y="864"/>
                  </a:cxn>
                  <a:cxn ang="0">
                    <a:pos x="631" y="864"/>
                  </a:cxn>
                  <a:cxn ang="0">
                    <a:pos x="666" y="829"/>
                  </a:cxn>
                  <a:cxn ang="0">
                    <a:pos x="666" y="35"/>
                  </a:cxn>
                  <a:cxn ang="0">
                    <a:pos x="597" y="791"/>
                  </a:cxn>
                  <a:cxn ang="0">
                    <a:pos x="66" y="791"/>
                  </a:cxn>
                  <a:cxn ang="0">
                    <a:pos x="66" y="76"/>
                  </a:cxn>
                  <a:cxn ang="0">
                    <a:pos x="597" y="76"/>
                  </a:cxn>
                  <a:cxn ang="0">
                    <a:pos x="597" y="791"/>
                  </a:cxn>
                </a:cxnLst>
                <a:rect l="0" t="0" r="r" b="b"/>
                <a:pathLst>
                  <a:path w="666" h="864">
                    <a:moveTo>
                      <a:pt x="666" y="35"/>
                    </a:moveTo>
                    <a:cubicBezTo>
                      <a:pt x="666" y="16"/>
                      <a:pt x="650" y="0"/>
                      <a:pt x="631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15" y="0"/>
                      <a:pt x="0" y="16"/>
                      <a:pt x="0" y="35"/>
                    </a:cubicBezTo>
                    <a:cubicBezTo>
                      <a:pt x="0" y="829"/>
                      <a:pt x="0" y="829"/>
                      <a:pt x="0" y="829"/>
                    </a:cubicBezTo>
                    <a:cubicBezTo>
                      <a:pt x="0" y="849"/>
                      <a:pt x="15" y="864"/>
                      <a:pt x="34" y="864"/>
                    </a:cubicBezTo>
                    <a:cubicBezTo>
                      <a:pt x="631" y="864"/>
                      <a:pt x="631" y="864"/>
                      <a:pt x="631" y="864"/>
                    </a:cubicBezTo>
                    <a:cubicBezTo>
                      <a:pt x="650" y="864"/>
                      <a:pt x="666" y="849"/>
                      <a:pt x="666" y="829"/>
                    </a:cubicBezTo>
                    <a:cubicBezTo>
                      <a:pt x="666" y="35"/>
                      <a:pt x="666" y="35"/>
                      <a:pt x="666" y="35"/>
                    </a:cubicBezTo>
                    <a:moveTo>
                      <a:pt x="597" y="791"/>
                    </a:moveTo>
                    <a:cubicBezTo>
                      <a:pt x="66" y="791"/>
                      <a:pt x="66" y="791"/>
                      <a:pt x="66" y="791"/>
                    </a:cubicBezTo>
                    <a:cubicBezTo>
                      <a:pt x="66" y="76"/>
                      <a:pt x="66" y="76"/>
                      <a:pt x="66" y="76"/>
                    </a:cubicBezTo>
                    <a:cubicBezTo>
                      <a:pt x="597" y="76"/>
                      <a:pt x="597" y="76"/>
                      <a:pt x="597" y="76"/>
                    </a:cubicBezTo>
                    <a:cubicBezTo>
                      <a:pt x="597" y="791"/>
                      <a:pt x="597" y="791"/>
                      <a:pt x="597" y="791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Oval 14"/>
            <p:cNvSpPr/>
            <p:nvPr/>
          </p:nvSpPr>
          <p:spPr>
            <a:xfrm>
              <a:off x="4471627" y="1357124"/>
              <a:ext cx="200746" cy="20074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215040" y="1627755"/>
            <a:ext cx="2674525" cy="3576246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154755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/>
    </p:bld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1" name="Group 300"/>
          <p:cNvGrpSpPr/>
          <p:nvPr userDrawn="1"/>
        </p:nvGrpSpPr>
        <p:grpSpPr>
          <a:xfrm>
            <a:off x="747228" y="1481662"/>
            <a:ext cx="3882522" cy="2030568"/>
            <a:chOff x="2844800" y="1304396"/>
            <a:chExt cx="2803525" cy="1466250"/>
          </a:xfrm>
        </p:grpSpPr>
        <p:grpSp>
          <p:nvGrpSpPr>
            <p:cNvPr id="42" name="Group 44"/>
            <p:cNvGrpSpPr/>
            <p:nvPr/>
          </p:nvGrpSpPr>
          <p:grpSpPr>
            <a:xfrm>
              <a:off x="3209925" y="1304396"/>
              <a:ext cx="2073275" cy="1397000"/>
              <a:chOff x="4843457" y="992546"/>
              <a:chExt cx="2073275" cy="1397000"/>
            </a:xfrm>
          </p:grpSpPr>
          <p:sp>
            <p:nvSpPr>
              <p:cNvPr id="47" name="Freeform 12"/>
              <p:cNvSpPr>
                <a:spLocks/>
              </p:cNvSpPr>
              <p:nvPr/>
            </p:nvSpPr>
            <p:spPr bwMode="auto">
              <a:xfrm>
                <a:off x="4843457" y="992546"/>
                <a:ext cx="2073275" cy="1397000"/>
              </a:xfrm>
              <a:custGeom>
                <a:avLst/>
                <a:gdLst/>
                <a:ahLst/>
                <a:cxnLst>
                  <a:cxn ang="0">
                    <a:pos x="1146" y="737"/>
                  </a:cxn>
                  <a:cxn ang="0">
                    <a:pos x="1120" y="772"/>
                  </a:cxn>
                  <a:cxn ang="0">
                    <a:pos x="26" y="772"/>
                  </a:cxn>
                  <a:cxn ang="0">
                    <a:pos x="0" y="737"/>
                  </a:cxn>
                  <a:cxn ang="0">
                    <a:pos x="0" y="35"/>
                  </a:cxn>
                  <a:cxn ang="0">
                    <a:pos x="26" y="0"/>
                  </a:cxn>
                  <a:cxn ang="0">
                    <a:pos x="1120" y="0"/>
                  </a:cxn>
                  <a:cxn ang="0">
                    <a:pos x="1146" y="35"/>
                  </a:cxn>
                  <a:cxn ang="0">
                    <a:pos x="1146" y="737"/>
                  </a:cxn>
                </a:cxnLst>
                <a:rect l="0" t="0" r="r" b="b"/>
                <a:pathLst>
                  <a:path w="1146" h="772">
                    <a:moveTo>
                      <a:pt x="1146" y="737"/>
                    </a:moveTo>
                    <a:cubicBezTo>
                      <a:pt x="1146" y="756"/>
                      <a:pt x="1134" y="772"/>
                      <a:pt x="1120" y="772"/>
                    </a:cubicBezTo>
                    <a:cubicBezTo>
                      <a:pt x="26" y="772"/>
                      <a:pt x="26" y="772"/>
                      <a:pt x="26" y="772"/>
                    </a:cubicBezTo>
                    <a:cubicBezTo>
                      <a:pt x="12" y="772"/>
                      <a:pt x="0" y="756"/>
                      <a:pt x="0" y="737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16"/>
                      <a:pt x="12" y="0"/>
                      <a:pt x="26" y="0"/>
                    </a:cubicBezTo>
                    <a:cubicBezTo>
                      <a:pt x="1120" y="0"/>
                      <a:pt x="1120" y="0"/>
                      <a:pt x="1120" y="0"/>
                    </a:cubicBezTo>
                    <a:cubicBezTo>
                      <a:pt x="1134" y="0"/>
                      <a:pt x="1146" y="16"/>
                      <a:pt x="1146" y="35"/>
                    </a:cubicBezTo>
                    <a:cubicBezTo>
                      <a:pt x="1146" y="737"/>
                      <a:pt x="1146" y="737"/>
                      <a:pt x="1146" y="737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Rectangle 13"/>
              <p:cNvSpPr>
                <a:spLocks noChangeArrowheads="1"/>
              </p:cNvSpPr>
              <p:nvPr/>
            </p:nvSpPr>
            <p:spPr bwMode="auto">
              <a:xfrm>
                <a:off x="4926007" y="1068746"/>
                <a:ext cx="1914525" cy="11811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"/>
              <p:cNvSpPr>
                <a:spLocks/>
              </p:cNvSpPr>
              <p:nvPr/>
            </p:nvSpPr>
            <p:spPr bwMode="auto">
              <a:xfrm>
                <a:off x="4936351" y="1068746"/>
                <a:ext cx="1901825" cy="1089025"/>
              </a:xfrm>
              <a:custGeom>
                <a:avLst/>
                <a:gdLst/>
                <a:ahLst/>
                <a:cxnLst>
                  <a:cxn ang="0">
                    <a:pos x="1198" y="0"/>
                  </a:cxn>
                  <a:cxn ang="0">
                    <a:pos x="0" y="0"/>
                  </a:cxn>
                  <a:cxn ang="0">
                    <a:pos x="1198" y="686"/>
                  </a:cxn>
                  <a:cxn ang="0">
                    <a:pos x="1198" y="0"/>
                  </a:cxn>
                </a:cxnLst>
                <a:rect l="0" t="0" r="r" b="b"/>
                <a:pathLst>
                  <a:path w="1198" h="686">
                    <a:moveTo>
                      <a:pt x="1198" y="0"/>
                    </a:moveTo>
                    <a:lnTo>
                      <a:pt x="0" y="0"/>
                    </a:lnTo>
                    <a:lnTo>
                      <a:pt x="1198" y="686"/>
                    </a:lnTo>
                    <a:lnTo>
                      <a:pt x="1198" y="0"/>
                    </a:lnTo>
                    <a:close/>
                  </a:path>
                </a:pathLst>
              </a:custGeom>
              <a:solidFill>
                <a:schemeClr val="bg1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3" name="Group 43"/>
            <p:cNvGrpSpPr/>
            <p:nvPr/>
          </p:nvGrpSpPr>
          <p:grpSpPr>
            <a:xfrm>
              <a:off x="2844800" y="2648409"/>
              <a:ext cx="2803525" cy="122237"/>
              <a:chOff x="4462463" y="2425701"/>
              <a:chExt cx="2803525" cy="122237"/>
            </a:xfrm>
          </p:grpSpPr>
          <p:sp>
            <p:nvSpPr>
              <p:cNvPr id="44" name="Freeform 15"/>
              <p:cNvSpPr>
                <a:spLocks/>
              </p:cNvSpPr>
              <p:nvPr/>
            </p:nvSpPr>
            <p:spPr bwMode="auto">
              <a:xfrm>
                <a:off x="4462463" y="2481263"/>
                <a:ext cx="2800350" cy="66675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68" y="37"/>
                  </a:cxn>
                  <a:cxn ang="0">
                    <a:pos x="1487" y="37"/>
                  </a:cxn>
                  <a:cxn ang="0">
                    <a:pos x="1546" y="12"/>
                  </a:cxn>
                  <a:cxn ang="0">
                    <a:pos x="1547" y="0"/>
                  </a:cxn>
                  <a:cxn ang="0">
                    <a:pos x="10" y="5"/>
                  </a:cxn>
                </a:cxnLst>
                <a:rect l="0" t="0" r="r" b="b"/>
                <a:pathLst>
                  <a:path w="1547" h="37">
                    <a:moveTo>
                      <a:pt x="10" y="5"/>
                    </a:moveTo>
                    <a:cubicBezTo>
                      <a:pt x="10" y="5"/>
                      <a:pt x="0" y="23"/>
                      <a:pt x="68" y="37"/>
                    </a:cubicBezTo>
                    <a:cubicBezTo>
                      <a:pt x="1487" y="37"/>
                      <a:pt x="1487" y="37"/>
                      <a:pt x="1487" y="37"/>
                    </a:cubicBezTo>
                    <a:cubicBezTo>
                      <a:pt x="1487" y="37"/>
                      <a:pt x="1534" y="34"/>
                      <a:pt x="1546" y="12"/>
                    </a:cubicBezTo>
                    <a:cubicBezTo>
                      <a:pt x="1547" y="0"/>
                      <a:pt x="1547" y="0"/>
                      <a:pt x="1547" y="0"/>
                    </a:cubicBezTo>
                    <a:lnTo>
                      <a:pt x="10" y="5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16"/>
              <p:cNvSpPr>
                <a:spLocks/>
              </p:cNvSpPr>
              <p:nvPr/>
            </p:nvSpPr>
            <p:spPr bwMode="auto">
              <a:xfrm>
                <a:off x="4478338" y="2425701"/>
                <a:ext cx="2787650" cy="8413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38"/>
                  </a:cxn>
                  <a:cxn ang="0">
                    <a:pos x="16" y="43"/>
                  </a:cxn>
                  <a:cxn ang="0">
                    <a:pos x="1522" y="43"/>
                  </a:cxn>
                  <a:cxn ang="0">
                    <a:pos x="1538" y="40"/>
                  </a:cxn>
                  <a:cxn ang="0">
                    <a:pos x="1538" y="0"/>
                  </a:cxn>
                  <a:cxn ang="0">
                    <a:pos x="1" y="0"/>
                  </a:cxn>
                </a:cxnLst>
                <a:rect l="0" t="0" r="r" b="b"/>
                <a:pathLst>
                  <a:path w="1540" h="47">
                    <a:moveTo>
                      <a:pt x="1" y="0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1" y="47"/>
                      <a:pt x="16" y="43"/>
                      <a:pt x="16" y="43"/>
                    </a:cubicBezTo>
                    <a:cubicBezTo>
                      <a:pt x="1522" y="43"/>
                      <a:pt x="1522" y="43"/>
                      <a:pt x="1522" y="43"/>
                    </a:cubicBezTo>
                    <a:cubicBezTo>
                      <a:pt x="1540" y="45"/>
                      <a:pt x="1538" y="40"/>
                      <a:pt x="1538" y="40"/>
                    </a:cubicBezTo>
                    <a:cubicBezTo>
                      <a:pt x="1538" y="0"/>
                      <a:pt x="1538" y="0"/>
                      <a:pt x="1538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gradFill>
                <a:gsLst>
                  <a:gs pos="42000">
                    <a:schemeClr val="bg1">
                      <a:lumMod val="75000"/>
                    </a:schemeClr>
                  </a:gs>
                  <a:gs pos="6000">
                    <a:schemeClr val="bg1">
                      <a:lumMod val="85000"/>
                    </a:schemeClr>
                  </a:gs>
                  <a:gs pos="0">
                    <a:schemeClr val="bg1">
                      <a:lumMod val="65000"/>
                    </a:schemeClr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31"/>
              <p:cNvSpPr>
                <a:spLocks/>
              </p:cNvSpPr>
              <p:nvPr/>
            </p:nvSpPr>
            <p:spPr bwMode="auto">
              <a:xfrm>
                <a:off x="5672138" y="2425701"/>
                <a:ext cx="392113" cy="44450"/>
              </a:xfrm>
              <a:custGeom>
                <a:avLst/>
                <a:gdLst/>
                <a:ahLst/>
                <a:cxnLst>
                  <a:cxn ang="0">
                    <a:pos x="20" y="22"/>
                  </a:cxn>
                  <a:cxn ang="0">
                    <a:pos x="198" y="22"/>
                  </a:cxn>
                  <a:cxn ang="0">
                    <a:pos x="215" y="1"/>
                  </a:cxn>
                  <a:cxn ang="0">
                    <a:pos x="6" y="0"/>
                  </a:cxn>
                  <a:cxn ang="0">
                    <a:pos x="20" y="22"/>
                  </a:cxn>
                </a:cxnLst>
                <a:rect l="0" t="0" r="r" b="b"/>
                <a:pathLst>
                  <a:path w="217" h="25">
                    <a:moveTo>
                      <a:pt x="20" y="22"/>
                    </a:moveTo>
                    <a:cubicBezTo>
                      <a:pt x="198" y="22"/>
                      <a:pt x="198" y="22"/>
                      <a:pt x="198" y="22"/>
                    </a:cubicBezTo>
                    <a:cubicBezTo>
                      <a:pt x="198" y="22"/>
                      <a:pt x="217" y="25"/>
                      <a:pt x="2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0" y="20"/>
                      <a:pt x="20" y="22"/>
                    </a:cubicBezTo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0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367200" y="1587190"/>
            <a:ext cx="2651372" cy="163567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3904560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/>
    </p:bld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+ Sub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9938" y="267471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69938" y="619462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grpSp>
        <p:nvGrpSpPr>
          <p:cNvPr id="3" name="Group 7"/>
          <p:cNvGrpSpPr/>
          <p:nvPr userDrawn="1"/>
        </p:nvGrpSpPr>
        <p:grpSpPr>
          <a:xfrm>
            <a:off x="0" y="5048851"/>
            <a:ext cx="9144000" cy="9464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1" name="Flowchart: Off-page Connector 30"/>
          <p:cNvSpPr/>
          <p:nvPr userDrawn="1"/>
        </p:nvSpPr>
        <p:spPr>
          <a:xfrm>
            <a:off x="8622181" y="238198"/>
            <a:ext cx="288035" cy="235899"/>
          </a:xfrm>
          <a:prstGeom prst="flowChartOffpageConnector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42120" y="197976"/>
            <a:ext cx="457681" cy="274637"/>
          </a:xfrm>
          <a:prstGeom prst="rect">
            <a:avLst/>
          </a:prstGeom>
        </p:spPr>
        <p:txBody>
          <a:bodyPr anchor="ctr"/>
          <a:lstStyle>
            <a:lvl1pPr algn="ctr">
              <a:defRPr sz="10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783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775425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788842" y="1229499"/>
            <a:ext cx="3681115" cy="3225991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12" name="Round Same Side Corner Rectangle 11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376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867991" y="1472626"/>
            <a:ext cx="1421516" cy="1421092"/>
          </a:xfrm>
          <a:prstGeom prst="roundRect">
            <a:avLst/>
          </a:prstGeom>
          <a:ln w="28575">
            <a:solidFill>
              <a:schemeClr val="accent1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4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822643" y="1472626"/>
            <a:ext cx="1421516" cy="1421092"/>
          </a:xfrm>
          <a:prstGeom prst="roundRect">
            <a:avLst/>
          </a:prstGeom>
          <a:ln w="28575">
            <a:solidFill>
              <a:schemeClr val="accent2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7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4829092" y="1472626"/>
            <a:ext cx="1421516" cy="1421092"/>
          </a:xfrm>
          <a:prstGeom prst="roundRect">
            <a:avLst/>
          </a:prstGeom>
          <a:ln w="28575">
            <a:solidFill>
              <a:schemeClr val="accent3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0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6835350" y="1472626"/>
            <a:ext cx="1421516" cy="1421092"/>
          </a:xfrm>
          <a:prstGeom prst="roundRect">
            <a:avLst/>
          </a:prstGeom>
          <a:ln w="28575">
            <a:solidFill>
              <a:schemeClr val="accent4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10" name="Round Same Side Corner Rectangle 9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ctr" defTabSz="1031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36B7D2-B98C-44FD-8D04-7EC62A564975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10316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4093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4" grpId="0" animBg="1"/>
      <p:bldP spid="37" grpId="0" animBg="1"/>
      <p:bldP spid="40" grpId="0" animBg="1"/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am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val 39"/>
          <p:cNvSpPr/>
          <p:nvPr userDrawn="1"/>
        </p:nvSpPr>
        <p:spPr>
          <a:xfrm>
            <a:off x="1452601" y="1526704"/>
            <a:ext cx="2936519" cy="2936519"/>
          </a:xfrm>
          <a:prstGeom prst="ellipse">
            <a:avLst/>
          </a:prstGeom>
          <a:noFill/>
          <a:ln w="19050">
            <a:solidFill>
              <a:schemeClr val="tx2">
                <a:lumMod val="50000"/>
                <a:lumOff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59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056569" y="2495701"/>
            <a:ext cx="997689" cy="997392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bIns="91440" anchor="b"/>
          <a:lstStyle>
            <a:lvl1pPr algn="ctr">
              <a:buNone/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2438400" y="1124588"/>
            <a:ext cx="997689" cy="997392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bIns="91440" anchor="b"/>
          <a:lstStyle>
            <a:lvl1pPr algn="ctr">
              <a:buNone/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1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784267" y="2503321"/>
            <a:ext cx="997689" cy="997392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bIns="91440" anchor="b"/>
          <a:lstStyle>
            <a:lvl1pPr algn="ctr">
              <a:buNone/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2422016" y="3860358"/>
            <a:ext cx="997689" cy="997392"/>
          </a:xfrm>
          <a:prstGeom prst="ellipse">
            <a:avLst/>
          </a:prstGeom>
          <a:ln w="28575">
            <a:solidFill>
              <a:schemeClr val="accent4"/>
            </a:solidFill>
          </a:ln>
        </p:spPr>
        <p:txBody>
          <a:bodyPr bIns="91440" anchor="b"/>
          <a:lstStyle>
            <a:lvl1pPr algn="ctr">
              <a:buNone/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half" idx="19"/>
          </p:nvPr>
        </p:nvSpPr>
        <p:spPr>
          <a:xfrm>
            <a:off x="406762" y="3553224"/>
            <a:ext cx="1164563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r" rtl="1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4" name="Text Placeholder 3"/>
          <p:cNvSpPr>
            <a:spLocks noGrp="1"/>
          </p:cNvSpPr>
          <p:nvPr>
            <p:ph type="body" sz="half" idx="20"/>
          </p:nvPr>
        </p:nvSpPr>
        <p:spPr>
          <a:xfrm>
            <a:off x="1170318" y="4425136"/>
            <a:ext cx="1164563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r" rtl="1">
              <a:buNone/>
              <a:defRPr sz="11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5" name="Text Placeholder 3"/>
          <p:cNvSpPr>
            <a:spLocks noGrp="1"/>
          </p:cNvSpPr>
          <p:nvPr>
            <p:ph type="body" sz="half" idx="21"/>
          </p:nvPr>
        </p:nvSpPr>
        <p:spPr>
          <a:xfrm>
            <a:off x="3494818" y="1287714"/>
            <a:ext cx="1164563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1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6" name="Text Placeholder 3"/>
          <p:cNvSpPr>
            <a:spLocks noGrp="1"/>
          </p:cNvSpPr>
          <p:nvPr>
            <p:ph type="body" sz="half" idx="22"/>
          </p:nvPr>
        </p:nvSpPr>
        <p:spPr>
          <a:xfrm>
            <a:off x="4256824" y="3572474"/>
            <a:ext cx="1164563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1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Round Same Side Corner Rectangle 14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23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431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6" presetClass="entr" presetSubtype="2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5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22" presetClass="entr" presetSubtype="2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22" presetClass="entr" presetSubtype="8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0"/>
                            </p:stCondLst>
                            <p:childTnLst>
                              <p:par>
                                <p:cTn id="4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500"/>
                            </p:stCondLst>
                            <p:childTnLst>
                              <p:par>
                                <p:cTn id="53" presetID="22" presetClass="entr" presetSubtype="2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5" dur="500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4" grpId="0"/>
      <p:bldP spid="4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9" grpId="0" animBg="1"/>
      <p:bldP spid="60" grpId="0" animBg="1"/>
      <p:bldP spid="61" grpId="0" animBg="1"/>
      <p:bldP spid="62" grpId="0" animBg="1"/>
      <p:bldP spid="63" grpId="0" build="p">
        <p:tmplLst>
          <p:tmpl lvl="1">
            <p:tnLst>
              <p:par>
                <p:cTn presetID="22" presetClass="entr" presetSubtype="2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right)">
                      <p:cBhvr>
                        <p:cTn dur="500"/>
                        <p:tgtEl>
                          <p:spTgt spid="6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4" grpId="0" build="p">
        <p:tmplLst>
          <p:tmpl lvl="1">
            <p:tnLst>
              <p:par>
                <p:cTn presetID="22" presetClass="entr" presetSubtype="2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right)">
                      <p:cBhvr>
                        <p:cTn dur="500"/>
                        <p:tgtEl>
                          <p:spTgt spid="6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5" grpId="0" build="p">
        <p:tmplLst>
          <p:tmpl lvl="1">
            <p:tnLst>
              <p:par>
                <p:cTn presetID="22" presetClass="entr" presetSubtype="8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6" grpId="0" build="p">
        <p:tmplLst>
          <p:tmpl lvl="1">
            <p:tnLst>
              <p:par>
                <p:cTn presetID="22" presetClass="entr" presetSubtype="8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eaker or 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D:\MWC PROJECTS\MARS INC\4157 Leadership Summit 2014\assets\Leadership Summit Background Dots blu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77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5" name="Picture 4" descr="colorsFinal-2.png"/>
          <p:cNvPicPr>
            <a:picLocks noChangeAspect="1"/>
          </p:cNvPicPr>
          <p:nvPr userDrawn="1"/>
        </p:nvPicPr>
        <p:blipFill rotWithShape="1">
          <a:blip r:embed="rId3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31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am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694093" y="1265983"/>
            <a:ext cx="2372431" cy="2371725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bIns="91440" anchor="b"/>
          <a:lstStyle>
            <a:lvl1pPr algn="ctr">
              <a:buNone/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" name="Round Same Side Corner Rectangle 6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087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4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animBg="1"/>
    </p:bld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ind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146279"/>
            <a:ext cx="8229600" cy="2166127"/>
          </a:xfrm>
        </p:spPr>
        <p:txBody>
          <a:bodyPr wrap="square" lIns="0" tIns="0" rIns="0" bIns="0" anchor="t">
            <a:noAutofit/>
          </a:bodyPr>
          <a:lstStyle>
            <a:lvl1pPr>
              <a:spcAft>
                <a:spcPts val="0"/>
              </a:spcAft>
              <a:defRPr sz="6300" kern="1200" spc="-135"/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312406"/>
            <a:ext cx="8229600" cy="916694"/>
          </a:xfrm>
        </p:spPr>
        <p:txBody>
          <a:bodyPr/>
          <a:lstStyle>
            <a:lvl1pPr marL="0" indent="0" algn="l">
              <a:buNone/>
              <a:defRPr baseline="0">
                <a:solidFill>
                  <a:srgbClr val="000000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head if necessary</a:t>
            </a:r>
          </a:p>
          <a:p>
            <a:r>
              <a:rPr lang="en-US"/>
              <a:t>Dat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330071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ind - 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68223" y="63215"/>
            <a:ext cx="6866389" cy="54585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700" spc="-113"/>
            </a:lvl1pPr>
          </a:lstStyle>
          <a:p>
            <a:r>
              <a:rPr lang="en-US"/>
              <a:t>Main headlin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748719"/>
            <a:ext cx="8229600" cy="384590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800"/>
            </a:lvl1pPr>
            <a:lvl2pPr>
              <a:spcAft>
                <a:spcPts val="0"/>
              </a:spcAft>
              <a:defRPr sz="1800"/>
            </a:lvl2pPr>
            <a:lvl3pPr>
              <a:spcAft>
                <a:spcPts val="0"/>
              </a:spcAft>
              <a:defRPr sz="1800"/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801520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Kind - 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85800"/>
            <a:ext cx="8229600" cy="545855"/>
          </a:xfrm>
        </p:spPr>
        <p:txBody>
          <a:bodyPr>
            <a:noAutofit/>
          </a:bodyPr>
          <a:lstStyle>
            <a:lvl1pPr>
              <a:defRPr sz="3600" spc="-113"/>
            </a:lvl1pPr>
          </a:lstStyle>
          <a:p>
            <a:r>
              <a:rPr lang="en-US"/>
              <a:t>Main headlin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37019"/>
            <a:ext cx="8229600" cy="315760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800"/>
            </a:lvl1pPr>
            <a:lvl2pPr>
              <a:spcAft>
                <a:spcPts val="0"/>
              </a:spcAft>
              <a:defRPr sz="1800"/>
            </a:lvl2pPr>
            <a:lvl3pPr>
              <a:spcAft>
                <a:spcPts val="0"/>
              </a:spcAft>
              <a:defRPr sz="1800"/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70351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ind - Two Colum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54585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54905"/>
            <a:ext cx="4038600" cy="3239719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54905"/>
            <a:ext cx="4038600" cy="3239719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64138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Kind - Two Colum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56625"/>
            <a:ext cx="6858000" cy="54585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54905"/>
            <a:ext cx="4038600" cy="3239719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54905"/>
            <a:ext cx="4038600" cy="3239719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35382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ind -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03147"/>
            <a:ext cx="4040188" cy="480705"/>
          </a:xfrm>
        </p:spPr>
        <p:txBody>
          <a:bodyPr anchor="b">
            <a:normAutofit/>
          </a:bodyPr>
          <a:lstStyle>
            <a:lvl1pPr marL="0" indent="0">
              <a:buNone/>
              <a:defRPr sz="1350" b="1">
                <a:latin typeface="Helvetica"/>
                <a:cs typeface="Helvetica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102649"/>
            <a:ext cx="4040188" cy="3565824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703147"/>
            <a:ext cx="4041775" cy="480705"/>
          </a:xfrm>
        </p:spPr>
        <p:txBody>
          <a:bodyPr anchor="b">
            <a:normAutofit/>
          </a:bodyPr>
          <a:lstStyle>
            <a:lvl1pPr marL="0" indent="0">
              <a:buNone/>
              <a:defRPr sz="1350" b="1">
                <a:latin typeface="Helvetica"/>
                <a:cs typeface="Helvetica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102649"/>
            <a:ext cx="4041775" cy="3565824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1828800" y="56625"/>
            <a:ext cx="6858000" cy="5458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2700">
                <a:solidFill>
                  <a:srgbClr val="000000"/>
                </a:solidFill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327474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ind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54585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99847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Kind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40710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Kind -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386556"/>
          </a:xfrm>
        </p:spPr>
        <p:txBody>
          <a:bodyPr anchor="t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076326"/>
            <a:ext cx="5111750" cy="3518297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>
            <a:normAutofit/>
          </a:bodyPr>
          <a:lstStyle>
            <a:lvl1pPr marL="0" indent="0">
              <a:buNone/>
              <a:defRPr sz="13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8160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9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1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5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0.xml"/><Relationship Id="rId9" Type="http://schemas.openxmlformats.org/officeDocument/2006/relationships/image" Target="../media/image17.jpeg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9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64.xml"/><Relationship Id="rId34" Type="http://schemas.openxmlformats.org/officeDocument/2006/relationships/slideLayout" Target="../slideLayouts/slideLayout77.xml"/><Relationship Id="rId42" Type="http://schemas.openxmlformats.org/officeDocument/2006/relationships/slideLayout" Target="../slideLayouts/slideLayout85.xml"/><Relationship Id="rId47" Type="http://schemas.openxmlformats.org/officeDocument/2006/relationships/slideLayout" Target="../slideLayouts/slideLayout90.xml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72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slideLayout" Target="../slideLayouts/slideLayout75.xml"/><Relationship Id="rId37" Type="http://schemas.openxmlformats.org/officeDocument/2006/relationships/slideLayout" Target="../slideLayouts/slideLayout80.xml"/><Relationship Id="rId40" Type="http://schemas.openxmlformats.org/officeDocument/2006/relationships/slideLayout" Target="../slideLayouts/slideLayout83.xml"/><Relationship Id="rId45" Type="http://schemas.openxmlformats.org/officeDocument/2006/relationships/slideLayout" Target="../slideLayouts/slideLayout88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36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slideLayout" Target="../slideLayouts/slideLayout74.xml"/><Relationship Id="rId44" Type="http://schemas.openxmlformats.org/officeDocument/2006/relationships/slideLayout" Target="../slideLayouts/slideLayout87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slideLayout" Target="../slideLayouts/slideLayout73.xml"/><Relationship Id="rId35" Type="http://schemas.openxmlformats.org/officeDocument/2006/relationships/slideLayout" Target="../slideLayouts/slideLayout78.xml"/><Relationship Id="rId43" Type="http://schemas.openxmlformats.org/officeDocument/2006/relationships/slideLayout" Target="../slideLayouts/slideLayout86.xml"/><Relationship Id="rId48" Type="http://schemas.openxmlformats.org/officeDocument/2006/relationships/theme" Target="../theme/theme7.xml"/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33" Type="http://schemas.openxmlformats.org/officeDocument/2006/relationships/slideLayout" Target="../slideLayouts/slideLayout76.xml"/><Relationship Id="rId38" Type="http://schemas.openxmlformats.org/officeDocument/2006/relationships/slideLayout" Target="../slideLayouts/slideLayout81.xml"/><Relationship Id="rId4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63.xml"/><Relationship Id="rId41" Type="http://schemas.openxmlformats.org/officeDocument/2006/relationships/slideLayout" Target="../slideLayouts/slideLayout8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theme" Target="../theme/theme8.xml"/><Relationship Id="rId17" Type="http://schemas.openxmlformats.org/officeDocument/2006/relationships/image" Target="../media/image21.emf"/><Relationship Id="rId2" Type="http://schemas.openxmlformats.org/officeDocument/2006/relationships/slideLayout" Target="../slideLayouts/slideLayout92.xml"/><Relationship Id="rId16" Type="http://schemas.openxmlformats.org/officeDocument/2006/relationships/image" Target="../media/image20.emf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tags" Target="../tags/tag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104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24" Type="http://schemas.openxmlformats.org/officeDocument/2006/relationships/image" Target="../media/image24.png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23" Type="http://schemas.openxmlformats.org/officeDocument/2006/relationships/image" Target="../media/image23.jpeg"/><Relationship Id="rId10" Type="http://schemas.openxmlformats.org/officeDocument/2006/relationships/slideLayout" Target="../slideLayouts/slideLayout111.xml"/><Relationship Id="rId19" Type="http://schemas.openxmlformats.org/officeDocument/2006/relationships/vmlDrawing" Target="../drawings/vmlDrawing4.v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image" Target="../media/image2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lorsFinal-2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pic>
        <p:nvPicPr>
          <p:cNvPr id="12" name="Picture 3" descr="D:\MWC PROJECTS\MARS INC\4157 Leadership Summit 2014\assets\Leadership Summit Background Dots dk blue brighter.jpg"/>
          <p:cNvPicPr>
            <a:picLocks noChangeAspect="1" noChangeArrowheads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 flipV="1">
            <a:off x="0" y="0"/>
            <a:ext cx="9144000" cy="79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6638279" cy="796636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408841" y="4976004"/>
            <a:ext cx="2947988" cy="6745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941" y="4860292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3683" y="7070"/>
            <a:ext cx="8629481" cy="78478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0850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662" r:id="rId2"/>
    <p:sldLayoutId id="2147483661" r:id="rId3"/>
    <p:sldLayoutId id="2147483668" r:id="rId4"/>
    <p:sldLayoutId id="2147483670" r:id="rId5"/>
    <p:sldLayoutId id="2147483671" r:id="rId6"/>
    <p:sldLayoutId id="2147483673" r:id="rId7"/>
    <p:sldLayoutId id="2147483716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marR="0" indent="0" algn="l" defTabSz="914400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sz="2400" b="1" kern="1200" cap="none" spc="0" baseline="0">
          <a:ln>
            <a:noFill/>
          </a:ln>
          <a:solidFill>
            <a:schemeClr val="bg1"/>
          </a:solidFill>
          <a:effectLst/>
          <a:latin typeface="Calibri" panose="020F0502020204030204" pitchFamily="34" charset="0"/>
          <a:ea typeface="+mj-ea"/>
          <a:cs typeface="+mj-cs"/>
        </a:defRPr>
      </a:lvl1pPr>
    </p:titleStyle>
    <p:bodyStyle>
      <a:lvl1pPr marL="127397" marR="0" indent="-127397" algn="l" defTabSz="914400" rtl="0" eaLnBrk="1" latinLnBrk="0" hangingPunct="1">
        <a:lnSpc>
          <a:spcPct val="80000"/>
        </a:lnSpc>
        <a:spcBef>
          <a:spcPts val="45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defRPr sz="165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89335" marR="0" indent="-134541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Marsfont" pitchFamily="50" charset="0"/>
        <a:buChar char="–"/>
        <a:defRPr sz="15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685800" marR="0" indent="-103585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tabLst/>
        <a:defRPr sz="1350" i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897731" marR="0" indent="-109538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Arial" pitchFamily="34" charset="0"/>
        <a:buChar char="•"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075135" marR="0" indent="-80963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5"/>
        </a:buClr>
        <a:buFont typeface="Arial" pitchFamily="34" charset="0"/>
        <a:buChar char="•"/>
        <a:defRPr sz="105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D:\MWC PROJECTS\MARS INC\4157 Leadership Summit 2014\assets\Leadership Summit Background Dots blue.jpg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79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6638279" cy="796636"/>
          </a:xfrm>
          <a:prstGeom prst="rect">
            <a:avLst/>
          </a:prstGeom>
          <a:gradFill flip="none" rotWithShape="1">
            <a:gsLst>
              <a:gs pos="26000">
                <a:schemeClr val="accent2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408841" y="4976004"/>
            <a:ext cx="2947988" cy="6745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941" y="4860292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3683" y="7070"/>
            <a:ext cx="8629481" cy="78478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 descr="colorsFinal-2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312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marR="0" indent="0" algn="l" defTabSz="914400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sz="2400" b="1" kern="1200" cap="none" spc="0" baseline="0">
          <a:ln>
            <a:noFill/>
          </a:ln>
          <a:solidFill>
            <a:schemeClr val="bg1"/>
          </a:solidFill>
          <a:effectLst/>
          <a:latin typeface="Calibri" panose="020F0502020204030204" pitchFamily="34" charset="0"/>
          <a:ea typeface="+mj-ea"/>
          <a:cs typeface="+mj-cs"/>
        </a:defRPr>
      </a:lvl1pPr>
    </p:titleStyle>
    <p:bodyStyle>
      <a:lvl1pPr marL="127397" marR="0" indent="-127397" algn="l" defTabSz="914400" rtl="0" eaLnBrk="1" latinLnBrk="0" hangingPunct="1">
        <a:lnSpc>
          <a:spcPct val="80000"/>
        </a:lnSpc>
        <a:spcBef>
          <a:spcPts val="45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defRPr sz="165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89335" marR="0" indent="-134541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Marsfont" pitchFamily="50" charset="0"/>
        <a:buChar char="–"/>
        <a:defRPr sz="15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685800" marR="0" indent="-103585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tabLst/>
        <a:defRPr sz="1350" i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897731" marR="0" indent="-109538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Arial" pitchFamily="34" charset="0"/>
        <a:buChar char="•"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075135" marR="0" indent="-80963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5"/>
        </a:buClr>
        <a:buFont typeface="Arial" pitchFamily="34" charset="0"/>
        <a:buChar char="•"/>
        <a:defRPr sz="105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D:\MWC PROJECTS\MARS INC\4157 Leadership Summit 2014\assets\Leadership Summit Background Dots PINK.jpg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791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6638279" cy="796636"/>
          </a:xfrm>
          <a:prstGeom prst="rect">
            <a:avLst/>
          </a:prstGeom>
          <a:gradFill flip="none" rotWithShape="1">
            <a:gsLst>
              <a:gs pos="26000">
                <a:schemeClr val="accent4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408841" y="4976004"/>
            <a:ext cx="2947988" cy="6745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941" y="4860292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3683" y="7070"/>
            <a:ext cx="8629481" cy="78478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colorsFinal-2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089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marR="0" indent="0" algn="l" defTabSz="914400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sz="2400" b="1" kern="1200" cap="none" spc="0" baseline="0">
          <a:ln>
            <a:noFill/>
          </a:ln>
          <a:solidFill>
            <a:schemeClr val="bg1"/>
          </a:solidFill>
          <a:effectLst/>
          <a:latin typeface="Calibri" panose="020F0502020204030204" pitchFamily="34" charset="0"/>
          <a:ea typeface="+mj-ea"/>
          <a:cs typeface="+mj-cs"/>
        </a:defRPr>
      </a:lvl1pPr>
    </p:titleStyle>
    <p:bodyStyle>
      <a:lvl1pPr marL="127397" marR="0" indent="-127397" algn="l" defTabSz="914400" rtl="0" eaLnBrk="1" latinLnBrk="0" hangingPunct="1">
        <a:lnSpc>
          <a:spcPct val="80000"/>
        </a:lnSpc>
        <a:spcBef>
          <a:spcPts val="45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defRPr sz="165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89335" marR="0" indent="-134541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Marsfont" pitchFamily="50" charset="0"/>
        <a:buChar char="–"/>
        <a:defRPr sz="15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685800" marR="0" indent="-103585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tabLst/>
        <a:defRPr sz="1350" i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897731" marR="0" indent="-109538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Arial" pitchFamily="34" charset="0"/>
        <a:buChar char="•"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075135" marR="0" indent="-80963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5"/>
        </a:buClr>
        <a:buFont typeface="Arial" pitchFamily="34" charset="0"/>
        <a:buChar char="•"/>
        <a:defRPr sz="105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D:\MWC PROJECTS\MARS INC\4157 Leadership Summit 2014\assets\Leadership Summit Background Dots ls.jpg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79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6638279" cy="796636"/>
          </a:xfrm>
          <a:prstGeom prst="rect">
            <a:avLst/>
          </a:prstGeom>
          <a:gradFill flip="none" rotWithShape="1">
            <a:gsLst>
              <a:gs pos="26000">
                <a:schemeClr val="accent5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408841" y="4976004"/>
            <a:ext cx="2947988" cy="6745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941" y="4860292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3683" y="7070"/>
            <a:ext cx="8629481" cy="78478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 descr="colorsFinal-2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364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marR="0" indent="0" algn="l" defTabSz="914400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sz="2400" b="1" kern="1200" cap="none" spc="0" baseline="0">
          <a:ln>
            <a:noFill/>
          </a:ln>
          <a:solidFill>
            <a:schemeClr val="bg1"/>
          </a:solidFill>
          <a:effectLst/>
          <a:latin typeface="Calibri" panose="020F0502020204030204" pitchFamily="34" charset="0"/>
          <a:ea typeface="+mj-ea"/>
          <a:cs typeface="+mj-cs"/>
        </a:defRPr>
      </a:lvl1pPr>
    </p:titleStyle>
    <p:bodyStyle>
      <a:lvl1pPr marL="127397" marR="0" indent="-127397" algn="l" defTabSz="914400" rtl="0" eaLnBrk="1" latinLnBrk="0" hangingPunct="1">
        <a:lnSpc>
          <a:spcPct val="80000"/>
        </a:lnSpc>
        <a:spcBef>
          <a:spcPts val="45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defRPr sz="165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89335" marR="0" indent="-134541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Marsfont" pitchFamily="50" charset="0"/>
        <a:buChar char="–"/>
        <a:defRPr sz="15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685800" marR="0" indent="-103585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tabLst/>
        <a:defRPr sz="1350" i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897731" marR="0" indent="-109538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Arial" pitchFamily="34" charset="0"/>
        <a:buChar char="•"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075135" marR="0" indent="-80963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5"/>
        </a:buClr>
        <a:buFont typeface="Arial" pitchFamily="34" charset="0"/>
        <a:buChar char="•"/>
        <a:defRPr sz="105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D:\MWC PROJECTS\MARS INC\4157 Leadership Summit 2014\assets\Leadership Summit Background Dots ls orange.jpg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"/>
            <a:ext cx="9144000" cy="791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6638279" cy="796636"/>
          </a:xfrm>
          <a:prstGeom prst="rect">
            <a:avLst/>
          </a:prstGeom>
          <a:gradFill flip="none" rotWithShape="1">
            <a:gsLst>
              <a:gs pos="26000">
                <a:schemeClr val="accent6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408841" y="4976004"/>
            <a:ext cx="2947988" cy="6745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941" y="4860292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3683" y="7070"/>
            <a:ext cx="8629481" cy="78478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colorsFinal-2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373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714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marR="0" indent="0" algn="l" defTabSz="914400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sz="2400" b="1" kern="1200" cap="none" spc="0" baseline="0">
          <a:ln>
            <a:noFill/>
          </a:ln>
          <a:solidFill>
            <a:schemeClr val="bg1"/>
          </a:solidFill>
          <a:effectLst/>
          <a:latin typeface="Calibri" panose="020F0502020204030204" pitchFamily="34" charset="0"/>
          <a:ea typeface="+mj-ea"/>
          <a:cs typeface="+mj-cs"/>
        </a:defRPr>
      </a:lvl1pPr>
    </p:titleStyle>
    <p:bodyStyle>
      <a:lvl1pPr marL="127397" marR="0" indent="-127397" algn="l" defTabSz="914400" rtl="0" eaLnBrk="1" latinLnBrk="0" hangingPunct="1">
        <a:lnSpc>
          <a:spcPct val="80000"/>
        </a:lnSpc>
        <a:spcBef>
          <a:spcPts val="45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defRPr sz="165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89335" marR="0" indent="-134541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Marsfont" pitchFamily="50" charset="0"/>
        <a:buChar char="–"/>
        <a:defRPr sz="15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685800" marR="0" indent="-103585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tabLst/>
        <a:defRPr sz="1350" i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897731" marR="0" indent="-109538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Arial" pitchFamily="34" charset="0"/>
        <a:buChar char="•"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075135" marR="0" indent="-80963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5"/>
        </a:buClr>
        <a:buFont typeface="Arial" pitchFamily="34" charset="0"/>
        <a:buChar char="•"/>
        <a:defRPr sz="105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D:\MWC PROJECTS\MARS INC\4157 Leadership Summit 2014\assets\Leadership Summit Background Dots purple.jpg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79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6638279" cy="796636"/>
          </a:xfrm>
          <a:prstGeom prst="rect">
            <a:avLst/>
          </a:prstGeom>
          <a:gradFill flip="none" rotWithShape="1">
            <a:gsLst>
              <a:gs pos="26000">
                <a:schemeClr val="accent3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408841" y="4976004"/>
            <a:ext cx="2947988" cy="6745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941" y="4860292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3683" y="7070"/>
            <a:ext cx="8629481" cy="78478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colorsFinal-2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479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15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marR="0" indent="0" algn="l" defTabSz="914400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sz="2400" b="1" kern="1200" cap="none" spc="0" baseline="0">
          <a:ln>
            <a:noFill/>
          </a:ln>
          <a:solidFill>
            <a:schemeClr val="bg1"/>
          </a:solidFill>
          <a:effectLst/>
          <a:latin typeface="Calibri" panose="020F0502020204030204" pitchFamily="34" charset="0"/>
          <a:ea typeface="+mj-ea"/>
          <a:cs typeface="+mj-cs"/>
        </a:defRPr>
      </a:lvl1pPr>
    </p:titleStyle>
    <p:bodyStyle>
      <a:lvl1pPr marL="127397" marR="0" indent="-127397" algn="l" defTabSz="914400" rtl="0" eaLnBrk="1" latinLnBrk="0" hangingPunct="1">
        <a:lnSpc>
          <a:spcPct val="80000"/>
        </a:lnSpc>
        <a:spcBef>
          <a:spcPts val="45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defRPr sz="165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89335" marR="0" indent="-134541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Marsfont" pitchFamily="50" charset="0"/>
        <a:buChar char="–"/>
        <a:defRPr sz="15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685800" marR="0" indent="-103585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tabLst/>
        <a:defRPr sz="1350" i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897731" marR="0" indent="-109538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Arial" pitchFamily="34" charset="0"/>
        <a:buChar char="•"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075135" marR="0" indent="-80963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5"/>
        </a:buClr>
        <a:buFont typeface="Arial" pitchFamily="34" charset="0"/>
        <a:buChar char="•"/>
        <a:defRPr sz="105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3409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79" r:id="rId24"/>
    <p:sldLayoutId id="2147483780" r:id="rId25"/>
    <p:sldLayoutId id="2147483781" r:id="rId26"/>
    <p:sldLayoutId id="2147483782" r:id="rId27"/>
    <p:sldLayoutId id="2147483783" r:id="rId28"/>
    <p:sldLayoutId id="2147483784" r:id="rId29"/>
    <p:sldLayoutId id="2147483785" r:id="rId30"/>
    <p:sldLayoutId id="2147483786" r:id="rId31"/>
    <p:sldLayoutId id="2147483787" r:id="rId32"/>
    <p:sldLayoutId id="2147483788" r:id="rId33"/>
    <p:sldLayoutId id="2147483789" r:id="rId34"/>
    <p:sldLayoutId id="2147483790" r:id="rId35"/>
    <p:sldLayoutId id="2147483791" r:id="rId36"/>
    <p:sldLayoutId id="2147483792" r:id="rId37"/>
    <p:sldLayoutId id="2147483793" r:id="rId38"/>
    <p:sldLayoutId id="2147483794" r:id="rId39"/>
    <p:sldLayoutId id="2147483795" r:id="rId40"/>
    <p:sldLayoutId id="2147483796" r:id="rId41"/>
    <p:sldLayoutId id="2147483797" r:id="rId42"/>
    <p:sldLayoutId id="2147483798" r:id="rId43"/>
    <p:sldLayoutId id="2147483799" r:id="rId44"/>
    <p:sldLayoutId id="2147483800" r:id="rId45"/>
    <p:sldLayoutId id="2147483801" r:id="rId46"/>
    <p:sldLayoutId id="2147483802" r:id="rId47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73345"/>
            <a:ext cx="8229600" cy="5458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5153"/>
            <a:ext cx="8229600" cy="291947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US" sz="600" b="1" baseline="0" smtClean="0"/>
            </a:lvl1pPr>
          </a:lstStyle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23134" y="4767264"/>
            <a:ext cx="5636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1">
                <a:solidFill>
                  <a:schemeClr val="tx1"/>
                </a:solidFill>
                <a:latin typeface="Helvetica"/>
                <a:cs typeface="Helvetica"/>
              </a:defRPr>
            </a:lvl1pPr>
          </a:lstStyle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" y="4767263"/>
            <a:ext cx="8229600" cy="1191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KIND Logo_Pos.eps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900" y="-7809"/>
            <a:ext cx="887027" cy="60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293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49" r:id="rId11"/>
  </p:sldLayoutIdLst>
  <p:hf hdr="0"/>
  <p:txStyles>
    <p:titleStyle>
      <a:lvl1pPr algn="l" defTabSz="342900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Helvetica"/>
          <a:ea typeface="+mj-ea"/>
          <a:cs typeface="Helvetica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BD7C64A-C399-47B3-BB1D-6713589AEA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BD7C64A-C399-47B3-BB1D-6713589AEA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05" b="81221"/>
          <a:stretch/>
        </p:blipFill>
        <p:spPr>
          <a:xfrm>
            <a:off x="0" y="1"/>
            <a:ext cx="9144000" cy="785611"/>
          </a:xfrm>
          <a:prstGeom prst="rect">
            <a:avLst/>
          </a:prstGeom>
        </p:spPr>
      </p:pic>
      <p:pic>
        <p:nvPicPr>
          <p:cNvPr id="5" name="Picture 4" descr="colorsFinal-2.png"/>
          <p:cNvPicPr>
            <a:picLocks noChangeAspect="1"/>
          </p:cNvPicPr>
          <p:nvPr userDrawn="1"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1" y="4837288"/>
            <a:ext cx="803563" cy="194331"/>
          </a:xfrm>
          <a:prstGeom prst="rect">
            <a:avLst/>
          </a:prstGeom>
        </p:spPr>
      </p:pic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408841" y="4976005"/>
            <a:ext cx="2947988" cy="6995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defTabSz="457189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942" y="4860293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defTabSz="457189"/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189"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349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  <p:sldLayoutId id="2147483844" r:id="rId13"/>
    <p:sldLayoutId id="2147483845" r:id="rId14"/>
    <p:sldLayoutId id="2147483846" r:id="rId15"/>
    <p:sldLayoutId id="2147483847" r:id="rId16"/>
    <p:sldLayoutId id="2147483848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marR="0" indent="0" algn="l" defTabSz="914378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sz="2400" b="1" kern="1200" cap="none" spc="0" baseline="0">
          <a:ln>
            <a:noFill/>
          </a:ln>
          <a:solidFill>
            <a:schemeClr val="bg1"/>
          </a:solidFill>
          <a:effectLst/>
          <a:latin typeface="Calibri" panose="020F0502020204030204" pitchFamily="34" charset="0"/>
          <a:ea typeface="+mj-ea"/>
          <a:cs typeface="+mj-cs"/>
        </a:defRPr>
      </a:lvl1pPr>
    </p:titleStyle>
    <p:bodyStyle>
      <a:lvl1pPr marL="127394" marR="0" indent="-127394" algn="l" defTabSz="914378" rtl="0" eaLnBrk="1" latinLnBrk="0" hangingPunct="1">
        <a:lnSpc>
          <a:spcPct val="80000"/>
        </a:lnSpc>
        <a:spcBef>
          <a:spcPts val="45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defRPr sz="165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89325" marR="0" indent="-134538" algn="l" defTabSz="914378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Marsfont" pitchFamily="50" charset="0"/>
        <a:buChar char="–"/>
        <a:defRPr sz="15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685783" marR="0" indent="-103583" algn="l" defTabSz="914378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tabLst/>
        <a:defRPr sz="1350" i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897709" marR="0" indent="-109535" algn="l" defTabSz="914378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Arial" pitchFamily="34" charset="0"/>
        <a:buChar char="•"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075108" marR="0" indent="-80961" algn="l" defTabSz="914378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5"/>
        </a:buClr>
        <a:buFont typeface="Arial" pitchFamily="34" charset="0"/>
        <a:buChar char="•"/>
        <a:defRPr sz="105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737317" indent="-182876" algn="l" defTabSz="91437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192" indent="-182876" algn="l" defTabSz="914378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068" indent="-182876" algn="l" defTabSz="914378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5943" indent="-182876" algn="l" defTabSz="914378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7" Type="http://schemas.openxmlformats.org/officeDocument/2006/relationships/image" Target="../media/image55.sv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54.png"/><Relationship Id="rId5" Type="http://schemas.openxmlformats.org/officeDocument/2006/relationships/image" Target="../media/image53.svg"/><Relationship Id="rId4" Type="http://schemas.openxmlformats.org/officeDocument/2006/relationships/image" Target="../media/image5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openxmlformats.org/officeDocument/2006/relationships/image" Target="../media/image53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7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69.png"/><Relationship Id="rId3" Type="http://schemas.openxmlformats.org/officeDocument/2006/relationships/image" Target="../media/image64.jpeg"/><Relationship Id="rId7" Type="http://schemas.openxmlformats.org/officeDocument/2006/relationships/diagramColors" Target="../diagrams/colors1.xml"/><Relationship Id="rId12" Type="http://schemas.openxmlformats.org/officeDocument/2006/relationships/image" Target="../media/image6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2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67.jpeg"/><Relationship Id="rId5" Type="http://schemas.openxmlformats.org/officeDocument/2006/relationships/diagramLayout" Target="../diagrams/layout1.xml"/><Relationship Id="rId10" Type="http://schemas.openxmlformats.org/officeDocument/2006/relationships/image" Target="../media/image66.png"/><Relationship Id="rId4" Type="http://schemas.openxmlformats.org/officeDocument/2006/relationships/diagramData" Target="../diagrams/data1.xml"/><Relationship Id="rId9" Type="http://schemas.openxmlformats.org/officeDocument/2006/relationships/image" Target="../media/image65.png"/><Relationship Id="rId14" Type="http://schemas.openxmlformats.org/officeDocument/2006/relationships/image" Target="../media/image7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9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9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9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9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2.png"/><Relationship Id="rId7" Type="http://schemas.openxmlformats.org/officeDocument/2006/relationships/image" Target="../media/image46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10" Type="http://schemas.openxmlformats.org/officeDocument/2006/relationships/image" Target="../media/image50.png"/><Relationship Id="rId4" Type="http://schemas.openxmlformats.org/officeDocument/2006/relationships/image" Target="../media/image43.png"/><Relationship Id="rId9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78.png"/><Relationship Id="rId11" Type="http://schemas.openxmlformats.org/officeDocument/2006/relationships/image" Target="../media/image47.png"/><Relationship Id="rId5" Type="http://schemas.openxmlformats.org/officeDocument/2006/relationships/image" Target="../media/image77.png"/><Relationship Id="rId10" Type="http://schemas.openxmlformats.org/officeDocument/2006/relationships/image" Target="../media/image82.png"/><Relationship Id="rId4" Type="http://schemas.openxmlformats.org/officeDocument/2006/relationships/image" Target="../media/image76.png"/><Relationship Id="rId9" Type="http://schemas.openxmlformats.org/officeDocument/2006/relationships/image" Target="../media/image81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5" Type="http://schemas.openxmlformats.org/officeDocument/2006/relationships/image" Target="../media/image43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openxmlformats.org/officeDocument/2006/relationships/image" Target="../media/image53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55.sv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54.png"/><Relationship Id="rId5" Type="http://schemas.openxmlformats.org/officeDocument/2006/relationships/image" Target="../media/image53.svg"/><Relationship Id="rId4" Type="http://schemas.openxmlformats.org/officeDocument/2006/relationships/image" Target="../media/image5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sv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58.png"/><Relationship Id="rId5" Type="http://schemas.openxmlformats.org/officeDocument/2006/relationships/image" Target="../media/image55.svg"/><Relationship Id="rId4" Type="http://schemas.openxmlformats.org/officeDocument/2006/relationships/image" Target="../media/image5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sv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59.png"/><Relationship Id="rId5" Type="http://schemas.openxmlformats.org/officeDocument/2006/relationships/image" Target="../media/image55.svg"/><Relationship Id="rId4" Type="http://schemas.openxmlformats.org/officeDocument/2006/relationships/image" Target="../media/image5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openxmlformats.org/officeDocument/2006/relationships/image" Target="../media/image5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67EC89-90AD-4DBF-9F91-76CCC7FC41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1832129"/>
            <a:ext cx="8229600" cy="2166127"/>
          </a:xfrm>
        </p:spPr>
        <p:txBody>
          <a:bodyPr/>
          <a:lstStyle/>
          <a:p>
            <a:r>
              <a:rPr lang="en-US" sz="4000" dirty="0"/>
              <a:t>KIND 360 – Engagement Story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2D9A48-4F07-4A3F-8BD9-0D90B4ABD07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fld id="{344C8F14-D252-4A33-9431-9620E8D86CCF}" type="datetime4">
              <a:rPr lang="en-US" smtClean="0"/>
              <a:t>June 12, 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E86685-89F9-4C23-A172-82E9597B0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A3BEEB-87BA-4D2D-A90A-73CBE5CB3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2243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B36526AA-92CC-46AF-96A2-3DEE68C3B423}"/>
              </a:ext>
            </a:extLst>
          </p:cNvPr>
          <p:cNvGrpSpPr/>
          <p:nvPr/>
        </p:nvGrpSpPr>
        <p:grpSpPr>
          <a:xfrm>
            <a:off x="3685101" y="764294"/>
            <a:ext cx="5019675" cy="3495909"/>
            <a:chOff x="3685101" y="764294"/>
            <a:chExt cx="5019675" cy="349590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42473AF1-CA5B-4F32-A874-C77D89688B2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85101" y="764294"/>
              <a:ext cx="5019675" cy="1192867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65CE902-B780-46EB-B08A-804B398C49A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85101" y="1941432"/>
              <a:ext cx="5019675" cy="2318771"/>
            </a:xfrm>
            <a:prstGeom prst="rect">
              <a:avLst/>
            </a:prstGeom>
          </p:spPr>
        </p:pic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6ADCAA-F33B-47E8-B07E-FF91CB48C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218" y="4767264"/>
            <a:ext cx="2895600" cy="273844"/>
          </a:xfrm>
        </p:spPr>
        <p:txBody>
          <a:bodyPr/>
          <a:lstStyle/>
          <a:p>
            <a:r>
              <a:rPr lang="en-GB" sz="800" dirty="0">
                <a:solidFill>
                  <a:srgbClr val="000000"/>
                </a:solidFill>
              </a:rPr>
              <a:t>Used by Market Team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93CF9A8-D62B-40DA-9F9D-EE15033A2A9D}"/>
              </a:ext>
            </a:extLst>
          </p:cNvPr>
          <p:cNvSpPr txBox="1">
            <a:spLocks/>
          </p:cNvSpPr>
          <p:nvPr/>
        </p:nvSpPr>
        <p:spPr>
          <a:xfrm>
            <a:off x="1384917" y="6321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1600" dirty="0"/>
              <a:t>Key Competitor identification classifies and segments the products based on the their value sales for various product characteristics.  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E6214DB-89F6-4056-8D92-5AE17883E694}"/>
              </a:ext>
            </a:extLst>
          </p:cNvPr>
          <p:cNvSpPr/>
          <p:nvPr/>
        </p:nvSpPr>
        <p:spPr>
          <a:xfrm>
            <a:off x="161435" y="1143186"/>
            <a:ext cx="1676400" cy="1458754"/>
          </a:xfrm>
          <a:prstGeom prst="roundRect">
            <a:avLst>
              <a:gd name="adj" fmla="val 4414"/>
            </a:avLst>
          </a:prstGeom>
          <a:noFill/>
          <a:ln>
            <a:solidFill>
              <a:schemeClr val="bg2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342900" indent="-342900">
              <a:buFont typeface="+mj-lt"/>
              <a:buAutoNum type="arabicPeriod"/>
            </a:pPr>
            <a:endParaRPr lang="en-IN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What are the top products contributing to value sales?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To identify the key competitor for KIND in a segment?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E48C721-3A4C-4E12-B072-F182C5FE3FDF}"/>
              </a:ext>
            </a:extLst>
          </p:cNvPr>
          <p:cNvSpPr/>
          <p:nvPr/>
        </p:nvSpPr>
        <p:spPr>
          <a:xfrm>
            <a:off x="313835" y="1037168"/>
            <a:ext cx="1424609" cy="225287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00" dirty="0">
                <a:solidFill>
                  <a:schemeClr val="tx1"/>
                </a:solidFill>
              </a:rPr>
              <a:t>How might we?</a:t>
            </a:r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10" name="Graphic 9" descr="Help">
            <a:extLst>
              <a:ext uri="{FF2B5EF4-FFF2-40B4-BE49-F238E27FC236}">
                <a16:creationId xmlns:a16="http://schemas.microsoft.com/office/drawing/2014/main" id="{832F9A34-462D-41C2-98F1-A6C41F9C60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0218" y="1037168"/>
            <a:ext cx="225288" cy="225288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827EB651-1FD7-4468-B660-5E2B9BAC0BB9}"/>
              </a:ext>
            </a:extLst>
          </p:cNvPr>
          <p:cNvSpPr/>
          <p:nvPr/>
        </p:nvSpPr>
        <p:spPr>
          <a:xfrm>
            <a:off x="188541" y="1460318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1</a:t>
            </a:r>
            <a:endParaRPr lang="en-US" sz="1200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65F36D9-BFA6-41F2-8807-BD4BF97033E0}"/>
              </a:ext>
            </a:extLst>
          </p:cNvPr>
          <p:cNvSpPr/>
          <p:nvPr/>
        </p:nvSpPr>
        <p:spPr>
          <a:xfrm>
            <a:off x="177096" y="1980262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2</a:t>
            </a:r>
            <a:endParaRPr lang="en-US" sz="1200" dirty="0"/>
          </a:p>
        </p:txBody>
      </p:sp>
      <p:pic>
        <p:nvPicPr>
          <p:cNvPr id="29" name="Graphic 28" descr="Circle with left arrow">
            <a:extLst>
              <a:ext uri="{FF2B5EF4-FFF2-40B4-BE49-F238E27FC236}">
                <a16:creationId xmlns:a16="http://schemas.microsoft.com/office/drawing/2014/main" id="{71C66605-F4A5-4C28-9BA8-834E1F143F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34270" y="2148226"/>
            <a:ext cx="626168" cy="626168"/>
          </a:xfrm>
          <a:prstGeom prst="rect">
            <a:avLst/>
          </a:prstGeom>
        </p:spPr>
      </p:pic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7A893CCB-DA9B-495D-BCF2-42A5B96BDCFD}"/>
              </a:ext>
            </a:extLst>
          </p:cNvPr>
          <p:cNvSpPr/>
          <p:nvPr/>
        </p:nvSpPr>
        <p:spPr>
          <a:xfrm>
            <a:off x="2091784" y="947227"/>
            <a:ext cx="1511335" cy="386274"/>
          </a:xfrm>
          <a:prstGeom prst="wedgeRectCallout">
            <a:avLst>
              <a:gd name="adj1" fmla="val 87685"/>
              <a:gd name="adj2" fmla="val 31696"/>
            </a:avLst>
          </a:prstGeom>
          <a:solidFill>
            <a:schemeClr val="bg2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dirty="0">
                <a:solidFill>
                  <a:schemeClr val="tx1"/>
                </a:solidFill>
              </a:rPr>
              <a:t>In UK the market leaders have</a:t>
            </a:r>
          </a:p>
          <a:p>
            <a:r>
              <a:rPr lang="en-US" sz="800" dirty="0">
                <a:solidFill>
                  <a:schemeClr val="tx1"/>
                </a:solidFill>
              </a:rPr>
              <a:t>value sales of more than 2.2M pounds </a:t>
            </a:r>
          </a:p>
        </p:txBody>
      </p:sp>
      <p:sp>
        <p:nvSpPr>
          <p:cNvPr id="15" name="Speech Bubble: Rectangle 14">
            <a:extLst>
              <a:ext uri="{FF2B5EF4-FFF2-40B4-BE49-F238E27FC236}">
                <a16:creationId xmlns:a16="http://schemas.microsoft.com/office/drawing/2014/main" id="{D305D26B-8166-4F04-A48F-8198EE23D2B6}"/>
              </a:ext>
            </a:extLst>
          </p:cNvPr>
          <p:cNvSpPr/>
          <p:nvPr/>
        </p:nvSpPr>
        <p:spPr>
          <a:xfrm>
            <a:off x="1982977" y="3684602"/>
            <a:ext cx="1620551" cy="322685"/>
          </a:xfrm>
          <a:prstGeom prst="wedgeRectCallout">
            <a:avLst>
              <a:gd name="adj1" fmla="val 104857"/>
              <a:gd name="adj2" fmla="val -349385"/>
            </a:avLst>
          </a:prstGeom>
          <a:solidFill>
            <a:schemeClr val="bg1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dirty="0">
                <a:solidFill>
                  <a:schemeClr val="tx1"/>
                </a:solidFill>
              </a:rPr>
              <a:t>KIND in protein segment has competitor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EBCAF24-ADEB-4ED3-8FEB-1F18BE8AC309}"/>
              </a:ext>
            </a:extLst>
          </p:cNvPr>
          <p:cNvSpPr/>
          <p:nvPr/>
        </p:nvSpPr>
        <p:spPr>
          <a:xfrm>
            <a:off x="1937227" y="812661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1</a:t>
            </a:r>
            <a:endParaRPr lang="en-US" sz="12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8B46046-0663-4AC2-AE5C-8F4295346E1E}"/>
              </a:ext>
            </a:extLst>
          </p:cNvPr>
          <p:cNvSpPr/>
          <p:nvPr/>
        </p:nvSpPr>
        <p:spPr>
          <a:xfrm>
            <a:off x="1982977" y="3460095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2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461875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4FD6C97-816C-41C0-A42A-CBB9248714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4065" y="1202473"/>
            <a:ext cx="5899717" cy="278658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6ADCAA-F33B-47E8-B07E-FF91CB48C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218" y="4767264"/>
            <a:ext cx="2895600" cy="273844"/>
          </a:xfrm>
        </p:spPr>
        <p:txBody>
          <a:bodyPr/>
          <a:lstStyle/>
          <a:p>
            <a:r>
              <a:rPr lang="en-GB" sz="800" dirty="0">
                <a:solidFill>
                  <a:srgbClr val="000000"/>
                </a:solidFill>
              </a:rPr>
              <a:t>Used by Market Team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93CF9A8-D62B-40DA-9F9D-EE15033A2A9D}"/>
              </a:ext>
            </a:extLst>
          </p:cNvPr>
          <p:cNvSpPr txBox="1">
            <a:spLocks/>
          </p:cNvSpPr>
          <p:nvPr/>
        </p:nvSpPr>
        <p:spPr>
          <a:xfrm>
            <a:off x="1384917" y="6321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1600" dirty="0"/>
              <a:t>Brand performance by segment and sales development helps to track &amp; compare sales progression over time.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E6214DB-89F6-4056-8D92-5AE17883E694}"/>
              </a:ext>
            </a:extLst>
          </p:cNvPr>
          <p:cNvSpPr/>
          <p:nvPr/>
        </p:nvSpPr>
        <p:spPr>
          <a:xfrm>
            <a:off x="161435" y="1143186"/>
            <a:ext cx="1676400" cy="1631208"/>
          </a:xfrm>
          <a:prstGeom prst="roundRect">
            <a:avLst>
              <a:gd name="adj" fmla="val 4414"/>
            </a:avLst>
          </a:prstGeom>
          <a:noFill/>
          <a:ln>
            <a:solidFill>
              <a:schemeClr val="bg2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342900" indent="-342900">
              <a:buFont typeface="+mj-lt"/>
              <a:buAutoNum type="arabicPeriod"/>
            </a:pPr>
            <a:endParaRPr lang="en-IN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What are the top competitors in a segment to KIND?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What are the sales trend and distribution among the top 5 brands compared o KIND in a segment?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E48C721-3A4C-4E12-B072-F182C5FE3FDF}"/>
              </a:ext>
            </a:extLst>
          </p:cNvPr>
          <p:cNvSpPr/>
          <p:nvPr/>
        </p:nvSpPr>
        <p:spPr>
          <a:xfrm>
            <a:off x="313835" y="1037168"/>
            <a:ext cx="1424609" cy="225287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00" dirty="0">
                <a:solidFill>
                  <a:schemeClr val="tx1"/>
                </a:solidFill>
              </a:rPr>
              <a:t>How might we?</a:t>
            </a:r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10" name="Graphic 9" descr="Help">
            <a:extLst>
              <a:ext uri="{FF2B5EF4-FFF2-40B4-BE49-F238E27FC236}">
                <a16:creationId xmlns:a16="http://schemas.microsoft.com/office/drawing/2014/main" id="{832F9A34-462D-41C2-98F1-A6C41F9C60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218" y="1037168"/>
            <a:ext cx="225288" cy="225288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827EB651-1FD7-4468-B660-5E2B9BAC0BB9}"/>
              </a:ext>
            </a:extLst>
          </p:cNvPr>
          <p:cNvSpPr/>
          <p:nvPr/>
        </p:nvSpPr>
        <p:spPr>
          <a:xfrm>
            <a:off x="188541" y="1460318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1</a:t>
            </a:r>
            <a:endParaRPr lang="en-US" sz="1200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65F36D9-BFA6-41F2-8807-BD4BF97033E0}"/>
              </a:ext>
            </a:extLst>
          </p:cNvPr>
          <p:cNvSpPr/>
          <p:nvPr/>
        </p:nvSpPr>
        <p:spPr>
          <a:xfrm>
            <a:off x="169001" y="2131490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2</a:t>
            </a:r>
            <a:endParaRPr lang="en-US" sz="1200" dirty="0"/>
          </a:p>
        </p:txBody>
      </p:sp>
      <p:pic>
        <p:nvPicPr>
          <p:cNvPr id="29" name="Graphic 28" descr="Circle with left arrow">
            <a:extLst>
              <a:ext uri="{FF2B5EF4-FFF2-40B4-BE49-F238E27FC236}">
                <a16:creationId xmlns:a16="http://schemas.microsoft.com/office/drawing/2014/main" id="{71C66605-F4A5-4C28-9BA8-834E1F143F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134270" y="2148226"/>
            <a:ext cx="626168" cy="626168"/>
          </a:xfrm>
          <a:prstGeom prst="rect">
            <a:avLst/>
          </a:prstGeom>
        </p:spPr>
      </p:pic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7A893CCB-DA9B-495D-BCF2-42A5B96BDCFD}"/>
              </a:ext>
            </a:extLst>
          </p:cNvPr>
          <p:cNvSpPr/>
          <p:nvPr/>
        </p:nvSpPr>
        <p:spPr>
          <a:xfrm>
            <a:off x="4051603" y="723560"/>
            <a:ext cx="1511335" cy="350348"/>
          </a:xfrm>
          <a:prstGeom prst="wedgeRectCallout">
            <a:avLst>
              <a:gd name="adj1" fmla="val 60585"/>
              <a:gd name="adj2" fmla="val 273881"/>
            </a:avLst>
          </a:prstGeom>
          <a:solidFill>
            <a:schemeClr val="bg2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dirty="0">
                <a:solidFill>
                  <a:schemeClr val="tx1"/>
                </a:solidFill>
              </a:rPr>
              <a:t>KIND’s biggest competitor is ‘Nature Valley’ in Energy segment</a:t>
            </a:r>
          </a:p>
        </p:txBody>
      </p:sp>
      <p:sp>
        <p:nvSpPr>
          <p:cNvPr id="15" name="Speech Bubble: Rectangle 14">
            <a:extLst>
              <a:ext uri="{FF2B5EF4-FFF2-40B4-BE49-F238E27FC236}">
                <a16:creationId xmlns:a16="http://schemas.microsoft.com/office/drawing/2014/main" id="{D305D26B-8166-4F04-A48F-8198EE23D2B6}"/>
              </a:ext>
            </a:extLst>
          </p:cNvPr>
          <p:cNvSpPr/>
          <p:nvPr/>
        </p:nvSpPr>
        <p:spPr>
          <a:xfrm>
            <a:off x="3373641" y="4246184"/>
            <a:ext cx="1620551" cy="322685"/>
          </a:xfrm>
          <a:prstGeom prst="wedgeRectCallout">
            <a:avLst>
              <a:gd name="adj1" fmla="val 84873"/>
              <a:gd name="adj2" fmla="val -322819"/>
            </a:avLst>
          </a:prstGeom>
          <a:solidFill>
            <a:schemeClr val="bg1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dirty="0">
                <a:solidFill>
                  <a:schemeClr val="tx1"/>
                </a:solidFill>
              </a:rPr>
              <a:t>Sales composition for KIND remains similar across time .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EBCAF24-ADEB-4ED3-8FEB-1F18BE8AC309}"/>
              </a:ext>
            </a:extLst>
          </p:cNvPr>
          <p:cNvSpPr/>
          <p:nvPr/>
        </p:nvSpPr>
        <p:spPr>
          <a:xfrm>
            <a:off x="3833990" y="709989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1</a:t>
            </a:r>
            <a:endParaRPr lang="en-US" sz="12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8B46046-0663-4AC2-AE5C-8F4295346E1E}"/>
              </a:ext>
            </a:extLst>
          </p:cNvPr>
          <p:cNvSpPr/>
          <p:nvPr/>
        </p:nvSpPr>
        <p:spPr>
          <a:xfrm>
            <a:off x="3116600" y="4232136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2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1587752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A7B3FA-AAA0-47C7-B165-A260F0BCD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E70550-352A-4D2B-B321-FEACB94EA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1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B358E2C-41E5-4416-AE36-A3D1B8C8F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3439" y="1022004"/>
            <a:ext cx="7249695" cy="545855"/>
          </a:xfrm>
        </p:spPr>
        <p:txBody>
          <a:bodyPr>
            <a:noAutofit/>
          </a:bodyPr>
          <a:lstStyle/>
          <a:p>
            <a:r>
              <a:rPr lang="en-US" sz="3200" spc="0" dirty="0"/>
              <a:t>Agenda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ED60644-453A-4872-86BA-7B618A2A0FA8}"/>
              </a:ext>
            </a:extLst>
          </p:cNvPr>
          <p:cNvSpPr txBox="1">
            <a:spLocks/>
          </p:cNvSpPr>
          <p:nvPr/>
        </p:nvSpPr>
        <p:spPr>
          <a:xfrm>
            <a:off x="1521508" y="185798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>
                <a:latin typeface="Helvetica" panose="020B0604020202020204" pitchFamily="34" charset="0"/>
                <a:cs typeface="Helvetica" panose="020B0604020202020204" pitchFamily="34" charset="0"/>
              </a:rPr>
              <a:t>360 Projec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>
                <a:latin typeface="Helvetica" panose="020B0604020202020204" pitchFamily="34" charset="0"/>
                <a:cs typeface="Helvetica" panose="020B0604020202020204" pitchFamily="34" charset="0"/>
              </a:rPr>
              <a:t>Key Analyses and Insigh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Activation Effectiveness</a:t>
            </a:r>
          </a:p>
        </p:txBody>
      </p:sp>
    </p:spTree>
    <p:extLst>
      <p:ext uri="{BB962C8B-B14F-4D97-AF65-F5344CB8AC3E}">
        <p14:creationId xmlns:p14="http://schemas.microsoft.com/office/powerpoint/2010/main" val="3305974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A93AFE9-7B35-4B53-9631-4DEFE58F2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917" y="63215"/>
            <a:ext cx="7249695" cy="545855"/>
          </a:xfrm>
          <a:ln>
            <a:noFill/>
          </a:ln>
        </p:spPr>
        <p:txBody>
          <a:bodyPr/>
          <a:lstStyle/>
          <a:p>
            <a:r>
              <a:rPr lang="en-IN" sz="1600" spc="0" dirty="0"/>
              <a:t>We successfully piloted an activation effectiveness exercise to identify the most significant drivers/activations of sales and quantify their impact</a:t>
            </a:r>
            <a:endParaRPr lang="en-US" sz="1600" spc="0" dirty="0"/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8A0FBE53-7677-4ADB-853E-0CF1970CA37D}"/>
              </a:ext>
            </a:extLst>
          </p:cNvPr>
          <p:cNvSpPr/>
          <p:nvPr/>
        </p:nvSpPr>
        <p:spPr>
          <a:xfrm>
            <a:off x="884049" y="3823751"/>
            <a:ext cx="2670338" cy="832293"/>
          </a:xfrm>
          <a:prstGeom prst="roundRect">
            <a:avLst>
              <a:gd name="adj" fmla="val 7717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Understand how activation drivers like In-store Execution, </a:t>
            </a:r>
            <a:r>
              <a:rPr lang="en-US" sz="1100" b="1" dirty="0">
                <a:solidFill>
                  <a:schemeClr val="tx1"/>
                </a:solidFill>
              </a:rPr>
              <a:t>Price, Field Marketing, Sampling strategy and social media etc. </a:t>
            </a:r>
            <a:r>
              <a:rPr lang="en-US" sz="1100" dirty="0">
                <a:solidFill>
                  <a:schemeClr val="tx1"/>
                </a:solidFill>
              </a:rPr>
              <a:t>is affecting sales</a:t>
            </a:r>
          </a:p>
        </p:txBody>
      </p:sp>
      <p:pic>
        <p:nvPicPr>
          <p:cNvPr id="56" name="Picture 2" descr="Image result for question mark logo">
            <a:extLst>
              <a:ext uri="{FF2B5EF4-FFF2-40B4-BE49-F238E27FC236}">
                <a16:creationId xmlns:a16="http://schemas.microsoft.com/office/drawing/2014/main" id="{C46CCA48-2F4A-419C-A939-3AA24B501B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05" y="4065147"/>
            <a:ext cx="449879" cy="450759"/>
          </a:xfrm>
          <a:prstGeom prst="ellipse">
            <a:avLst/>
          </a:prstGeom>
          <a:ln w="63500" cap="rnd">
            <a:solidFill>
              <a:schemeClr val="bg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E8D87A4-EB1A-4601-AEA7-3C753BAA2FBD}"/>
              </a:ext>
            </a:extLst>
          </p:cNvPr>
          <p:cNvCxnSpPr>
            <a:cxnSpLocks/>
          </p:cNvCxnSpPr>
          <p:nvPr/>
        </p:nvCxnSpPr>
        <p:spPr>
          <a:xfrm flipV="1">
            <a:off x="2268246" y="-563232"/>
            <a:ext cx="1440594" cy="199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ACE63347-170C-4C0F-A232-2146F2918D51}"/>
              </a:ext>
            </a:extLst>
          </p:cNvPr>
          <p:cNvSpPr/>
          <p:nvPr/>
        </p:nvSpPr>
        <p:spPr bwMode="auto">
          <a:xfrm>
            <a:off x="2053754" y="-776717"/>
            <a:ext cx="1190574" cy="225359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ts val="0"/>
              </a:spcBef>
              <a:buClrTx/>
            </a:pPr>
            <a:r>
              <a:rPr lang="en-US" sz="1100" b="1" dirty="0">
                <a:solidFill>
                  <a:srgbClr val="A84D4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Y INSIGHTS</a:t>
            </a:r>
          </a:p>
        </p:txBody>
      </p:sp>
      <p:graphicFrame>
        <p:nvGraphicFramePr>
          <p:cNvPr id="60" name="Diagram 59">
            <a:extLst>
              <a:ext uri="{FF2B5EF4-FFF2-40B4-BE49-F238E27FC236}">
                <a16:creationId xmlns:a16="http://schemas.microsoft.com/office/drawing/2014/main" id="{4709B6D7-7274-4E07-AF52-9E8D414357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0835930"/>
              </p:ext>
            </p:extLst>
          </p:nvPr>
        </p:nvGraphicFramePr>
        <p:xfrm>
          <a:off x="1602210" y="1053549"/>
          <a:ext cx="3847789" cy="26770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65" name="Picture 64">
            <a:extLst>
              <a:ext uri="{FF2B5EF4-FFF2-40B4-BE49-F238E27FC236}">
                <a16:creationId xmlns:a16="http://schemas.microsoft.com/office/drawing/2014/main" id="{42CE793A-65B7-4A8C-A662-5C944F0BFF2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08840" y="2846052"/>
            <a:ext cx="2204623" cy="1131296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9AA22247-EBC2-4BF4-BC7E-0E3AAC933535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637"/>
          <a:stretch/>
        </p:blipFill>
        <p:spPr>
          <a:xfrm>
            <a:off x="250428" y="819508"/>
            <a:ext cx="2722233" cy="124472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41A7B8A6-A08B-4FA6-BC43-70D4F8A1BEC2}"/>
              </a:ext>
            </a:extLst>
          </p:cNvPr>
          <p:cNvSpPr/>
          <p:nvPr/>
        </p:nvSpPr>
        <p:spPr>
          <a:xfrm>
            <a:off x="1924217" y="2846052"/>
            <a:ext cx="144726" cy="158246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1</a:t>
            </a:r>
            <a:endParaRPr lang="en-US" sz="1200" dirty="0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238C24DE-44CC-4D0F-A462-85CF82DEC71C}"/>
              </a:ext>
            </a:extLst>
          </p:cNvPr>
          <p:cNvSpPr/>
          <p:nvPr/>
        </p:nvSpPr>
        <p:spPr>
          <a:xfrm>
            <a:off x="3373527" y="1978958"/>
            <a:ext cx="288892" cy="285414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2</a:t>
            </a:r>
            <a:endParaRPr lang="en-US" dirty="0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10AE92B9-1E79-4F71-839E-BF508B9A5D95}"/>
              </a:ext>
            </a:extLst>
          </p:cNvPr>
          <p:cNvSpPr/>
          <p:nvPr/>
        </p:nvSpPr>
        <p:spPr>
          <a:xfrm>
            <a:off x="4906005" y="1630138"/>
            <a:ext cx="377685" cy="348820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3</a:t>
            </a:r>
            <a:endParaRPr lang="en-US" dirty="0"/>
          </a:p>
        </p:txBody>
      </p:sp>
      <p:sp>
        <p:nvSpPr>
          <p:cNvPr id="2" name="Arrow: Chevron 1">
            <a:extLst>
              <a:ext uri="{FF2B5EF4-FFF2-40B4-BE49-F238E27FC236}">
                <a16:creationId xmlns:a16="http://schemas.microsoft.com/office/drawing/2014/main" id="{600CA029-852C-4206-9C4E-BC7E3CE82F42}"/>
              </a:ext>
            </a:extLst>
          </p:cNvPr>
          <p:cNvSpPr/>
          <p:nvPr/>
        </p:nvSpPr>
        <p:spPr>
          <a:xfrm>
            <a:off x="5889065" y="750632"/>
            <a:ext cx="418750" cy="3816636"/>
          </a:xfrm>
          <a:prstGeom prst="chevron">
            <a:avLst>
              <a:gd name="adj" fmla="val 86394"/>
            </a:avLst>
          </a:prstGeom>
          <a:solidFill>
            <a:srgbClr val="70B7E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D104153-6C79-450F-9D5A-591B9E4F78D0}"/>
              </a:ext>
            </a:extLst>
          </p:cNvPr>
          <p:cNvGrpSpPr/>
          <p:nvPr/>
        </p:nvGrpSpPr>
        <p:grpSpPr>
          <a:xfrm>
            <a:off x="6452723" y="1444487"/>
            <a:ext cx="2527172" cy="3036160"/>
            <a:chOff x="4655127" y="948510"/>
            <a:chExt cx="4720558" cy="3436515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C869949-3C80-413E-94A1-833C6B4C150E}"/>
                </a:ext>
              </a:extLst>
            </p:cNvPr>
            <p:cNvGrpSpPr/>
            <p:nvPr/>
          </p:nvGrpSpPr>
          <p:grpSpPr>
            <a:xfrm>
              <a:off x="5071260" y="3571005"/>
              <a:ext cx="3806401" cy="814020"/>
              <a:chOff x="981024" y="1594056"/>
              <a:chExt cx="4489084" cy="1085358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D2161242-CCE5-485A-93C7-7BA77C937D01}"/>
                  </a:ext>
                </a:extLst>
              </p:cNvPr>
              <p:cNvGrpSpPr/>
              <p:nvPr/>
            </p:nvGrpSpPr>
            <p:grpSpPr>
              <a:xfrm>
                <a:off x="981024" y="1594056"/>
                <a:ext cx="1515343" cy="898952"/>
                <a:chOff x="1214978" y="2202412"/>
                <a:chExt cx="1515343" cy="898952"/>
              </a:xfrm>
            </p:grpSpPr>
            <p:pic>
              <p:nvPicPr>
                <p:cNvPr id="20" name="Picture 2" descr="Image result for white map europe germany red">
                  <a:extLst>
                    <a:ext uri="{FF2B5EF4-FFF2-40B4-BE49-F238E27FC236}">
                      <a16:creationId xmlns:a16="http://schemas.microsoft.com/office/drawing/2014/main" id="{814332D5-D5A2-4A92-BB9B-1E1D61C5187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14978" y="2427780"/>
                  <a:ext cx="1142102" cy="67358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FD6458F7-478A-489E-8C0E-26718BDC3AEF}"/>
                    </a:ext>
                  </a:extLst>
                </p:cNvPr>
                <p:cNvSpPr txBox="1"/>
                <p:nvPr/>
              </p:nvSpPr>
              <p:spPr>
                <a:xfrm>
                  <a:off x="2292440" y="2202412"/>
                  <a:ext cx="437881" cy="27336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endParaRPr lang="en-US" sz="800" dirty="0"/>
                </a:p>
              </p:txBody>
            </p:sp>
          </p:grp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861FC6CB-3FDC-477F-B712-31F075BD9703}"/>
                  </a:ext>
                </a:extLst>
              </p:cNvPr>
              <p:cNvSpPr txBox="1"/>
              <p:nvPr/>
            </p:nvSpPr>
            <p:spPr>
              <a:xfrm>
                <a:off x="2485565" y="1625028"/>
                <a:ext cx="2984543" cy="10543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b="1" u="sng" dirty="0"/>
                  <a:t>New customer and geographies</a:t>
                </a:r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800" dirty="0"/>
                  <a:t>Expand to new markets and customers across same market(UK)</a:t>
                </a:r>
              </a:p>
            </p:txBody>
          </p: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5069DBD-61D8-4275-803A-12CE2C07FF23}"/>
                </a:ext>
              </a:extLst>
            </p:cNvPr>
            <p:cNvCxnSpPr>
              <a:cxnSpLocks/>
            </p:cNvCxnSpPr>
            <p:nvPr/>
          </p:nvCxnSpPr>
          <p:spPr>
            <a:xfrm>
              <a:off x="4655127" y="2066540"/>
              <a:ext cx="4222534" cy="0"/>
            </a:xfrm>
            <a:prstGeom prst="line">
              <a:avLst/>
            </a:prstGeom>
            <a:ln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FD82E0E9-1B92-4B60-A873-423337A3CA45}"/>
                </a:ext>
              </a:extLst>
            </p:cNvPr>
            <p:cNvGrpSpPr/>
            <p:nvPr/>
          </p:nvGrpSpPr>
          <p:grpSpPr>
            <a:xfrm>
              <a:off x="5742548" y="2277317"/>
              <a:ext cx="3135113" cy="840503"/>
              <a:chOff x="1804195" y="3230167"/>
              <a:chExt cx="3804870" cy="1120668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AAF11608-9FB3-4073-8489-9F31E4387442}"/>
                  </a:ext>
                </a:extLst>
              </p:cNvPr>
              <p:cNvSpPr txBox="1"/>
              <p:nvPr/>
            </p:nvSpPr>
            <p:spPr>
              <a:xfrm>
                <a:off x="2567217" y="3230167"/>
                <a:ext cx="3041848" cy="10543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b="1" u="sng" dirty="0"/>
                  <a:t>Granular data with new metrics</a:t>
                </a:r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800" dirty="0"/>
                  <a:t>Data at a week level</a:t>
                </a:r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800" dirty="0"/>
                  <a:t>More metrics like promotional distribution 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52B528D1-02F4-458C-906E-A2F1A81FBF18}"/>
                  </a:ext>
                </a:extLst>
              </p:cNvPr>
              <p:cNvSpPr/>
              <p:nvPr/>
            </p:nvSpPr>
            <p:spPr>
              <a:xfrm>
                <a:off x="1804195" y="4030258"/>
                <a:ext cx="630760" cy="32057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 dirty="0"/>
              </a:p>
            </p:txBody>
          </p:sp>
        </p:grp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AE8BB41-2BEF-4CB1-8866-11802B7E9931}"/>
                </a:ext>
              </a:extLst>
            </p:cNvPr>
            <p:cNvCxnSpPr>
              <a:cxnSpLocks/>
            </p:cNvCxnSpPr>
            <p:nvPr/>
          </p:nvCxnSpPr>
          <p:spPr>
            <a:xfrm>
              <a:off x="4731327" y="3318960"/>
              <a:ext cx="4146334" cy="0"/>
            </a:xfrm>
            <a:prstGeom prst="line">
              <a:avLst/>
            </a:prstGeom>
            <a:ln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A7120F39-13DB-4903-A88B-18C1CF7149DC}"/>
                </a:ext>
              </a:extLst>
            </p:cNvPr>
            <p:cNvGrpSpPr/>
            <p:nvPr/>
          </p:nvGrpSpPr>
          <p:grpSpPr>
            <a:xfrm>
              <a:off x="5071259" y="948510"/>
              <a:ext cx="4304426" cy="907943"/>
              <a:chOff x="932820" y="4926710"/>
              <a:chExt cx="5202406" cy="1210591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A6F0E7DD-5584-438F-815B-1D29EC9C5A71}"/>
                  </a:ext>
                </a:extLst>
              </p:cNvPr>
              <p:cNvSpPr txBox="1"/>
              <p:nvPr/>
            </p:nvSpPr>
            <p:spPr>
              <a:xfrm>
                <a:off x="2540793" y="4926710"/>
                <a:ext cx="3594433" cy="12105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b="1" u="sng" dirty="0"/>
                  <a:t>New Data Sources</a:t>
                </a:r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800" dirty="0"/>
                  <a:t>Inclusion of data sources, IRI, etc. to identify additional drivers of sales</a:t>
                </a:r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800" dirty="0"/>
                  <a:t>Finance data to optimize trade expenditure with respect to ROI</a:t>
                </a:r>
              </a:p>
            </p:txBody>
          </p: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E72372F2-BAE6-4728-A2EA-25ECA0320F11}"/>
                  </a:ext>
                </a:extLst>
              </p:cNvPr>
              <p:cNvGrpSpPr/>
              <p:nvPr/>
            </p:nvGrpSpPr>
            <p:grpSpPr>
              <a:xfrm>
                <a:off x="932820" y="5131484"/>
                <a:ext cx="1589936" cy="1002436"/>
                <a:chOff x="932820" y="5304666"/>
                <a:chExt cx="1589936" cy="1002436"/>
              </a:xfrm>
            </p:grpSpPr>
            <p:pic>
              <p:nvPicPr>
                <p:cNvPr id="31" name="Picture 2" descr="Image result for nielsen logo">
                  <a:extLst>
                    <a:ext uri="{FF2B5EF4-FFF2-40B4-BE49-F238E27FC236}">
                      <a16:creationId xmlns:a16="http://schemas.microsoft.com/office/drawing/2014/main" id="{C8857EA8-0234-40F2-903F-11E3824C91B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32820" y="5304666"/>
                  <a:ext cx="1304846" cy="30850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2" name="Picture 4" descr="Image result for iri logo">
                  <a:extLst>
                    <a:ext uri="{FF2B5EF4-FFF2-40B4-BE49-F238E27FC236}">
                      <a16:creationId xmlns:a16="http://schemas.microsoft.com/office/drawing/2014/main" id="{C5FA61B7-B74E-47F9-9B36-E67CB34F664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32820" y="5795801"/>
                  <a:ext cx="1589936" cy="51130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pic>
          <p:nvPicPr>
            <p:cNvPr id="34" name="Picture 2" descr="Image result for magnifying glass logo with dots">
              <a:extLst>
                <a:ext uri="{FF2B5EF4-FFF2-40B4-BE49-F238E27FC236}">
                  <a16:creationId xmlns:a16="http://schemas.microsoft.com/office/drawing/2014/main" id="{A8BDA879-3F5F-4BCC-ABC9-5B5C51B0DEC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36" r="15152" b="17189"/>
            <a:stretch/>
          </p:blipFill>
          <p:spPr bwMode="auto">
            <a:xfrm>
              <a:off x="5161872" y="2493459"/>
              <a:ext cx="900532" cy="458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C6270088-7DB4-4B56-B3B9-D61978709172}"/>
              </a:ext>
            </a:extLst>
          </p:cNvPr>
          <p:cNvSpPr txBox="1"/>
          <p:nvPr/>
        </p:nvSpPr>
        <p:spPr>
          <a:xfrm>
            <a:off x="6563871" y="758405"/>
            <a:ext cx="2219739" cy="5539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</a:rPr>
              <a:t>How might we improve and scale it?</a:t>
            </a:r>
          </a:p>
        </p:txBody>
      </p:sp>
    </p:spTree>
    <p:extLst>
      <p:ext uri="{BB962C8B-B14F-4D97-AF65-F5344CB8AC3E}">
        <p14:creationId xmlns:p14="http://schemas.microsoft.com/office/powerpoint/2010/main" val="18782254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F00159-48D9-440C-B073-3D89A65C62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3451" y="1488686"/>
            <a:ext cx="8229600" cy="2166127"/>
          </a:xfrm>
        </p:spPr>
        <p:txBody>
          <a:bodyPr/>
          <a:lstStyle/>
          <a:p>
            <a:r>
              <a:rPr lang="en-US" sz="4000" dirty="0"/>
              <a:t>Data Quality Management</a:t>
            </a:r>
            <a:br>
              <a:rPr lang="en-US" sz="4000" dirty="0"/>
            </a:br>
            <a:r>
              <a:rPr lang="en-US" sz="2000" b="0" dirty="0"/>
              <a:t>An unified quality and error detection tool</a:t>
            </a:r>
            <a:endParaRPr lang="en-US" sz="4000" b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60F48F-CD4B-4E33-967B-6DFE3C1E3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B17443-64CF-48E9-972B-800E9AD14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14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6622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C83636-5647-4AEE-9DE4-0B5B6D249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6350" y="102392"/>
            <a:ext cx="7553325" cy="545855"/>
          </a:xfrm>
        </p:spPr>
        <p:txBody>
          <a:bodyPr>
            <a:noAutofit/>
          </a:bodyPr>
          <a:lstStyle/>
          <a:p>
            <a:r>
              <a:rPr lang="en-US" sz="1600" dirty="0"/>
              <a:t>Raw data input is checked for standard format and necessary columns before processing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BA5790-B7E8-4E72-A69F-862BD3DEF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5E8890-9BB0-4052-9903-AAB0E720FF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15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A49CE18-1F94-4DEE-9BCC-8128B7BDB0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0045" y="608586"/>
            <a:ext cx="7892199" cy="4001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6165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C83636-5647-4AEE-9DE4-0B5B6D249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3025" y="102392"/>
            <a:ext cx="7343775" cy="545855"/>
          </a:xfrm>
        </p:spPr>
        <p:txBody>
          <a:bodyPr>
            <a:noAutofit/>
          </a:bodyPr>
          <a:lstStyle/>
          <a:p>
            <a:r>
              <a:rPr lang="en-US" sz="1600" dirty="0"/>
              <a:t>An anomaly detection framework is designed to check data on business sense and heuristic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BA5790-B7E8-4E72-A69F-862BD3DEF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5E8890-9BB0-4052-9903-AAB0E720FF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16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323BA1A-0E0B-4FDE-A5D9-DA5A598E77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375" y="648247"/>
            <a:ext cx="7985405" cy="4009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912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C83636-5647-4AEE-9DE4-0B5B6D249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7775" y="55093"/>
            <a:ext cx="7439025" cy="545855"/>
          </a:xfrm>
        </p:spPr>
        <p:txBody>
          <a:bodyPr>
            <a:noAutofit/>
          </a:bodyPr>
          <a:lstStyle/>
          <a:p>
            <a:r>
              <a:rPr lang="en-US" sz="1600" dirty="0"/>
              <a:t>Dynamic identification of new data points helps to track, optimize the solutions and reduces time effort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BA5790-B7E8-4E72-A69F-862BD3DEF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5E8890-9BB0-4052-9903-AAB0E720FF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17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728796-551F-42BD-AE81-AF9666D1CF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720" y="600948"/>
            <a:ext cx="7940560" cy="3996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5332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C83636-5647-4AEE-9DE4-0B5B6D249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7775" y="102392"/>
            <a:ext cx="7162800" cy="545855"/>
          </a:xfrm>
        </p:spPr>
        <p:txBody>
          <a:bodyPr>
            <a:noAutofit/>
          </a:bodyPr>
          <a:lstStyle/>
          <a:p>
            <a:r>
              <a:rPr lang="en-US" sz="1600" dirty="0"/>
              <a:t>Comparison of aggregated metrics at different levels helps to identify any discrepancy in the data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BA5790-B7E8-4E72-A69F-862BD3DEF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5E8890-9BB0-4052-9903-AAB0E720FF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18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9B3900-7C21-4B0A-9E35-0F581B0334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681" y="648246"/>
            <a:ext cx="7711894" cy="3804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0741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F00159-48D9-440C-B073-3D89A65C62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2976" y="2446572"/>
            <a:ext cx="8229600" cy="2166127"/>
          </a:xfrm>
        </p:spPr>
        <p:txBody>
          <a:bodyPr/>
          <a:lstStyle/>
          <a:p>
            <a:r>
              <a:rPr lang="en-US" sz="4000" dirty="0"/>
              <a:t>Appendi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60F48F-CD4B-4E33-967B-6DFE3C1E3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B17443-64CF-48E9-972B-800E9AD14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19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892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A7B3FA-AAA0-47C7-B165-A260F0BCD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E70550-352A-4D2B-B321-FEACB94EA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B358E2C-41E5-4416-AE36-A3D1B8C8F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3439" y="1022004"/>
            <a:ext cx="7249695" cy="545855"/>
          </a:xfrm>
        </p:spPr>
        <p:txBody>
          <a:bodyPr>
            <a:noAutofit/>
          </a:bodyPr>
          <a:lstStyle/>
          <a:p>
            <a:r>
              <a:rPr lang="en-US" sz="3200" spc="0" dirty="0"/>
              <a:t>Agenda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ED60644-453A-4872-86BA-7B618A2A0FA8}"/>
              </a:ext>
            </a:extLst>
          </p:cNvPr>
          <p:cNvSpPr txBox="1">
            <a:spLocks/>
          </p:cNvSpPr>
          <p:nvPr/>
        </p:nvSpPr>
        <p:spPr>
          <a:xfrm>
            <a:off x="1521508" y="185798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360 Projec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>
                <a:latin typeface="Helvetica" panose="020B0604020202020204" pitchFamily="34" charset="0"/>
                <a:cs typeface="Helvetica" panose="020B0604020202020204" pitchFamily="34" charset="0"/>
              </a:rPr>
              <a:t>Key Analyses and Insigh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>
                <a:latin typeface="Helvetica" panose="020B0604020202020204" pitchFamily="34" charset="0"/>
                <a:cs typeface="Helvetica" panose="020B0604020202020204" pitchFamily="34" charset="0"/>
              </a:rPr>
              <a:t>Activation Effectiveness</a:t>
            </a:r>
          </a:p>
        </p:txBody>
      </p:sp>
    </p:spTree>
    <p:extLst>
      <p:ext uri="{BB962C8B-B14F-4D97-AF65-F5344CB8AC3E}">
        <p14:creationId xmlns:p14="http://schemas.microsoft.com/office/powerpoint/2010/main" val="34424040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7E6339-E90D-468F-9766-D1D97B6F2B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6B7D2-B98C-44FD-8D04-7EC62A564975}" type="slidenum">
              <a:rPr lang="en-US" smtClean="0"/>
              <a:pPr/>
              <a:t>20</a:t>
            </a:fld>
            <a:endParaRPr lang="en-US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C2AB0F-6591-4726-AD4F-D0CDBC5948CF}"/>
              </a:ext>
            </a:extLst>
          </p:cNvPr>
          <p:cNvGrpSpPr/>
          <p:nvPr/>
        </p:nvGrpSpPr>
        <p:grpSpPr>
          <a:xfrm>
            <a:off x="0" y="1020417"/>
            <a:ext cx="5174974" cy="3309454"/>
            <a:chOff x="0" y="1077913"/>
            <a:chExt cx="5522139" cy="3424237"/>
          </a:xfrm>
        </p:grpSpPr>
        <p:grpSp>
          <p:nvGrpSpPr>
            <p:cNvPr id="5" name="Group 60">
              <a:extLst>
                <a:ext uri="{FF2B5EF4-FFF2-40B4-BE49-F238E27FC236}">
                  <a16:creationId xmlns:a16="http://schemas.microsoft.com/office/drawing/2014/main" id="{48459D39-AD14-4CBE-83CD-CDE3FAFBCA4A}"/>
                </a:ext>
              </a:extLst>
            </p:cNvPr>
            <p:cNvGrpSpPr/>
            <p:nvPr/>
          </p:nvGrpSpPr>
          <p:grpSpPr>
            <a:xfrm>
              <a:off x="0" y="3487738"/>
              <a:ext cx="3592681" cy="1014412"/>
              <a:chOff x="0" y="3487738"/>
              <a:chExt cx="3592681" cy="1014412"/>
            </a:xfrm>
          </p:grpSpPr>
          <p:sp>
            <p:nvSpPr>
              <p:cNvPr id="6" name="Rectangle 7">
                <a:extLst>
                  <a:ext uri="{FF2B5EF4-FFF2-40B4-BE49-F238E27FC236}">
                    <a16:creationId xmlns:a16="http://schemas.microsoft.com/office/drawing/2014/main" id="{772883EF-1B8B-42F8-91BD-4D56404CB1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3151" y="3487738"/>
                <a:ext cx="2519530" cy="468312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" name="Rectangle 8">
                <a:extLst>
                  <a:ext uri="{FF2B5EF4-FFF2-40B4-BE49-F238E27FC236}">
                    <a16:creationId xmlns:a16="http://schemas.microsoft.com/office/drawing/2014/main" id="{543197E5-0240-4812-9E75-B47AEF2543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0" y="3903663"/>
                <a:ext cx="666750" cy="598487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" name="Freeform 15">
                <a:extLst>
                  <a:ext uri="{FF2B5EF4-FFF2-40B4-BE49-F238E27FC236}">
                    <a16:creationId xmlns:a16="http://schemas.microsoft.com/office/drawing/2014/main" id="{5AD35B82-1D28-42B4-902E-FFABECA1AF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750" y="3487738"/>
                <a:ext cx="406400" cy="1014412"/>
              </a:xfrm>
              <a:custGeom>
                <a:avLst/>
                <a:gdLst>
                  <a:gd name="T0" fmla="*/ 256 w 256"/>
                  <a:gd name="T1" fmla="*/ 0 h 639"/>
                  <a:gd name="T2" fmla="*/ 256 w 256"/>
                  <a:gd name="T3" fmla="*/ 295 h 639"/>
                  <a:gd name="T4" fmla="*/ 0 w 256"/>
                  <a:gd name="T5" fmla="*/ 639 h 639"/>
                  <a:gd name="T6" fmla="*/ 0 w 256"/>
                  <a:gd name="T7" fmla="*/ 262 h 639"/>
                  <a:gd name="T8" fmla="*/ 256 w 256"/>
                  <a:gd name="T9" fmla="*/ 0 h 6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6" h="639">
                    <a:moveTo>
                      <a:pt x="256" y="0"/>
                    </a:moveTo>
                    <a:lnTo>
                      <a:pt x="256" y="295"/>
                    </a:lnTo>
                    <a:lnTo>
                      <a:pt x="0" y="639"/>
                    </a:lnTo>
                    <a:lnTo>
                      <a:pt x="0" y="262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9" name="Group 25">
              <a:extLst>
                <a:ext uri="{FF2B5EF4-FFF2-40B4-BE49-F238E27FC236}">
                  <a16:creationId xmlns:a16="http://schemas.microsoft.com/office/drawing/2014/main" id="{A6700119-FC86-4483-BFA5-5E267665EFE8}"/>
                </a:ext>
              </a:extLst>
            </p:cNvPr>
            <p:cNvGrpSpPr/>
            <p:nvPr/>
          </p:nvGrpSpPr>
          <p:grpSpPr>
            <a:xfrm>
              <a:off x="0" y="1077913"/>
              <a:ext cx="3592681" cy="1011237"/>
              <a:chOff x="0" y="1077913"/>
              <a:chExt cx="3592681" cy="1011237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A35C66B4-B863-49F2-A3B1-5AC4DE67D0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0" y="1077913"/>
                <a:ext cx="666750" cy="630237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8F092E8C-48EE-4EDD-AAB7-55D9F99DA2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3151" y="1620838"/>
                <a:ext cx="2519530" cy="468312"/>
              </a:xfrm>
              <a:custGeom>
                <a:avLst/>
                <a:gdLst>
                  <a:gd name="T0" fmla="*/ 0 w 2603"/>
                  <a:gd name="T1" fmla="*/ 290 h 295"/>
                  <a:gd name="T2" fmla="*/ 0 w 2603"/>
                  <a:gd name="T3" fmla="*/ 0 h 295"/>
                  <a:gd name="T4" fmla="*/ 2603 w 2603"/>
                  <a:gd name="T5" fmla="*/ 0 h 295"/>
                  <a:gd name="T6" fmla="*/ 2603 w 2603"/>
                  <a:gd name="T7" fmla="*/ 295 h 295"/>
                  <a:gd name="T8" fmla="*/ 0 w 2603"/>
                  <a:gd name="T9" fmla="*/ 295 h 295"/>
                  <a:gd name="T10" fmla="*/ 0 w 2603"/>
                  <a:gd name="T11" fmla="*/ 290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03" h="295">
                    <a:moveTo>
                      <a:pt x="0" y="290"/>
                    </a:moveTo>
                    <a:lnTo>
                      <a:pt x="0" y="0"/>
                    </a:lnTo>
                    <a:lnTo>
                      <a:pt x="2603" y="0"/>
                    </a:lnTo>
                    <a:lnTo>
                      <a:pt x="2603" y="295"/>
                    </a:lnTo>
                    <a:lnTo>
                      <a:pt x="0" y="295"/>
                    </a:lnTo>
                    <a:lnTo>
                      <a:pt x="0" y="29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6">
                <a:extLst>
                  <a:ext uri="{FF2B5EF4-FFF2-40B4-BE49-F238E27FC236}">
                    <a16:creationId xmlns:a16="http://schemas.microsoft.com/office/drawing/2014/main" id="{5176E2E0-E7B8-4A44-A223-3191DD9613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750" y="1077913"/>
                <a:ext cx="406400" cy="1003300"/>
              </a:xfrm>
              <a:custGeom>
                <a:avLst/>
                <a:gdLst>
                  <a:gd name="T0" fmla="*/ 0 w 256"/>
                  <a:gd name="T1" fmla="*/ 397 h 632"/>
                  <a:gd name="T2" fmla="*/ 0 w 256"/>
                  <a:gd name="T3" fmla="*/ 0 h 632"/>
                  <a:gd name="T4" fmla="*/ 256 w 256"/>
                  <a:gd name="T5" fmla="*/ 342 h 632"/>
                  <a:gd name="T6" fmla="*/ 256 w 256"/>
                  <a:gd name="T7" fmla="*/ 632 h 632"/>
                  <a:gd name="T8" fmla="*/ 0 w 256"/>
                  <a:gd name="T9" fmla="*/ 397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6" h="632">
                    <a:moveTo>
                      <a:pt x="0" y="397"/>
                    </a:moveTo>
                    <a:lnTo>
                      <a:pt x="0" y="0"/>
                    </a:lnTo>
                    <a:lnTo>
                      <a:pt x="256" y="342"/>
                    </a:lnTo>
                    <a:lnTo>
                      <a:pt x="256" y="632"/>
                    </a:lnTo>
                    <a:lnTo>
                      <a:pt x="0" y="397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13" name="Group 26">
              <a:extLst>
                <a:ext uri="{FF2B5EF4-FFF2-40B4-BE49-F238E27FC236}">
                  <a16:creationId xmlns:a16="http://schemas.microsoft.com/office/drawing/2014/main" id="{D369A4E6-9269-4891-84FA-038016D53AA9}"/>
                </a:ext>
              </a:extLst>
            </p:cNvPr>
            <p:cNvGrpSpPr/>
            <p:nvPr/>
          </p:nvGrpSpPr>
          <p:grpSpPr>
            <a:xfrm>
              <a:off x="0" y="1708150"/>
              <a:ext cx="4341572" cy="847725"/>
              <a:chOff x="0" y="1708150"/>
              <a:chExt cx="4341572" cy="847725"/>
            </a:xfrm>
          </p:grpSpPr>
          <p:sp>
            <p:nvSpPr>
              <p:cNvPr id="14" name="Rectangle 5">
                <a:extLst>
                  <a:ext uri="{FF2B5EF4-FFF2-40B4-BE49-F238E27FC236}">
                    <a16:creationId xmlns:a16="http://schemas.microsoft.com/office/drawing/2014/main" id="{BE4487AE-4B21-4800-85F3-26A46EF84E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3151" y="2089150"/>
                <a:ext cx="3268421" cy="46672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Rectangle 6">
                <a:extLst>
                  <a:ext uri="{FF2B5EF4-FFF2-40B4-BE49-F238E27FC236}">
                    <a16:creationId xmlns:a16="http://schemas.microsoft.com/office/drawing/2014/main" id="{E8E68F79-D9FA-47F0-9001-2EF8DE951C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0" y="1708150"/>
                <a:ext cx="666750" cy="617537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7">
                <a:extLst>
                  <a:ext uri="{FF2B5EF4-FFF2-40B4-BE49-F238E27FC236}">
                    <a16:creationId xmlns:a16="http://schemas.microsoft.com/office/drawing/2014/main" id="{87DB0862-4451-4CDB-80C6-1653E3DDC3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750" y="1708150"/>
                <a:ext cx="406400" cy="847725"/>
              </a:xfrm>
              <a:custGeom>
                <a:avLst/>
                <a:gdLst>
                  <a:gd name="T0" fmla="*/ 256 w 256"/>
                  <a:gd name="T1" fmla="*/ 534 h 534"/>
                  <a:gd name="T2" fmla="*/ 0 w 256"/>
                  <a:gd name="T3" fmla="*/ 389 h 534"/>
                  <a:gd name="T4" fmla="*/ 0 w 256"/>
                  <a:gd name="T5" fmla="*/ 0 h 534"/>
                  <a:gd name="T6" fmla="*/ 256 w 256"/>
                  <a:gd name="T7" fmla="*/ 235 h 534"/>
                  <a:gd name="T8" fmla="*/ 256 w 256"/>
                  <a:gd name="T9" fmla="*/ 240 h 534"/>
                  <a:gd name="T10" fmla="*/ 256 w 256"/>
                  <a:gd name="T11" fmla="*/ 534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6" h="534">
                    <a:moveTo>
                      <a:pt x="256" y="534"/>
                    </a:moveTo>
                    <a:lnTo>
                      <a:pt x="0" y="389"/>
                    </a:lnTo>
                    <a:lnTo>
                      <a:pt x="0" y="0"/>
                    </a:lnTo>
                    <a:lnTo>
                      <a:pt x="256" y="235"/>
                    </a:lnTo>
                    <a:lnTo>
                      <a:pt x="256" y="240"/>
                    </a:lnTo>
                    <a:lnTo>
                      <a:pt x="256" y="534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17" name="Group 59">
              <a:extLst>
                <a:ext uri="{FF2B5EF4-FFF2-40B4-BE49-F238E27FC236}">
                  <a16:creationId xmlns:a16="http://schemas.microsoft.com/office/drawing/2014/main" id="{A4209E7D-9F55-4321-81B3-6098F7627A54}"/>
                </a:ext>
              </a:extLst>
            </p:cNvPr>
            <p:cNvGrpSpPr/>
            <p:nvPr/>
          </p:nvGrpSpPr>
          <p:grpSpPr>
            <a:xfrm>
              <a:off x="0" y="3021013"/>
              <a:ext cx="4341572" cy="882650"/>
              <a:chOff x="0" y="3021013"/>
              <a:chExt cx="4341572" cy="882650"/>
            </a:xfrm>
          </p:grpSpPr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918777D2-EBE8-4EEC-A8DF-6DC7236263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0" y="3270250"/>
                <a:ext cx="666750" cy="633412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Rectangle 12">
                <a:extLst>
                  <a:ext uri="{FF2B5EF4-FFF2-40B4-BE49-F238E27FC236}">
                    <a16:creationId xmlns:a16="http://schemas.microsoft.com/office/drawing/2014/main" id="{0DEB579C-6C3E-4AA0-A3CA-E4543B38D8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3151" y="3021013"/>
                <a:ext cx="3268421" cy="46672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8">
                <a:extLst>
                  <a:ext uri="{FF2B5EF4-FFF2-40B4-BE49-F238E27FC236}">
                    <a16:creationId xmlns:a16="http://schemas.microsoft.com/office/drawing/2014/main" id="{E6F9842E-8E9F-4208-AB99-CF86B80E39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750" y="3021013"/>
                <a:ext cx="406400" cy="882650"/>
              </a:xfrm>
              <a:custGeom>
                <a:avLst/>
                <a:gdLst>
                  <a:gd name="T0" fmla="*/ 256 w 256"/>
                  <a:gd name="T1" fmla="*/ 294 h 556"/>
                  <a:gd name="T2" fmla="*/ 0 w 256"/>
                  <a:gd name="T3" fmla="*/ 556 h 556"/>
                  <a:gd name="T4" fmla="*/ 0 w 256"/>
                  <a:gd name="T5" fmla="*/ 157 h 556"/>
                  <a:gd name="T6" fmla="*/ 256 w 256"/>
                  <a:gd name="T7" fmla="*/ 0 h 556"/>
                  <a:gd name="T8" fmla="*/ 256 w 256"/>
                  <a:gd name="T9" fmla="*/ 294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6" h="556">
                    <a:moveTo>
                      <a:pt x="256" y="294"/>
                    </a:moveTo>
                    <a:lnTo>
                      <a:pt x="0" y="556"/>
                    </a:lnTo>
                    <a:lnTo>
                      <a:pt x="0" y="157"/>
                    </a:lnTo>
                    <a:lnTo>
                      <a:pt x="256" y="0"/>
                    </a:lnTo>
                    <a:lnTo>
                      <a:pt x="256" y="294"/>
                    </a:lnTo>
                    <a:close/>
                  </a:path>
                </a:pathLst>
              </a:cu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1" name="Group 58">
              <a:extLst>
                <a:ext uri="{FF2B5EF4-FFF2-40B4-BE49-F238E27FC236}">
                  <a16:creationId xmlns:a16="http://schemas.microsoft.com/office/drawing/2014/main" id="{4AFB7AF2-56D3-4DF9-B8F0-BB035DDEE1B3}"/>
                </a:ext>
              </a:extLst>
            </p:cNvPr>
            <p:cNvGrpSpPr/>
            <p:nvPr/>
          </p:nvGrpSpPr>
          <p:grpSpPr>
            <a:xfrm>
              <a:off x="0" y="2325688"/>
              <a:ext cx="5205413" cy="944562"/>
              <a:chOff x="0" y="2325688"/>
              <a:chExt cx="5205413" cy="944562"/>
            </a:xfrm>
          </p:grpSpPr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6A6DA8A0-1CFB-4880-94B0-484ED6FDDB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3150" y="2555875"/>
                <a:ext cx="4132263" cy="465137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Rectangle 14">
                <a:extLst>
                  <a:ext uri="{FF2B5EF4-FFF2-40B4-BE49-F238E27FC236}">
                    <a16:creationId xmlns:a16="http://schemas.microsoft.com/office/drawing/2014/main" id="{DA8ED87F-CAF0-471F-9AE0-8938C4FF1F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0" y="2325688"/>
                <a:ext cx="666750" cy="944562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19">
                <a:extLst>
                  <a:ext uri="{FF2B5EF4-FFF2-40B4-BE49-F238E27FC236}">
                    <a16:creationId xmlns:a16="http://schemas.microsoft.com/office/drawing/2014/main" id="{4A13A3AE-C6E0-4A83-AFA9-5055A18EA9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750" y="2325688"/>
                <a:ext cx="406400" cy="944562"/>
              </a:xfrm>
              <a:custGeom>
                <a:avLst/>
                <a:gdLst>
                  <a:gd name="T0" fmla="*/ 0 w 256"/>
                  <a:gd name="T1" fmla="*/ 0 h 595"/>
                  <a:gd name="T2" fmla="*/ 256 w 256"/>
                  <a:gd name="T3" fmla="*/ 145 h 595"/>
                  <a:gd name="T4" fmla="*/ 256 w 256"/>
                  <a:gd name="T5" fmla="*/ 438 h 595"/>
                  <a:gd name="T6" fmla="*/ 0 w 256"/>
                  <a:gd name="T7" fmla="*/ 595 h 595"/>
                  <a:gd name="T8" fmla="*/ 0 w 256"/>
                  <a:gd name="T9" fmla="*/ 0 h 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6" h="595">
                    <a:moveTo>
                      <a:pt x="0" y="0"/>
                    </a:moveTo>
                    <a:lnTo>
                      <a:pt x="256" y="145"/>
                    </a:lnTo>
                    <a:lnTo>
                      <a:pt x="256" y="438"/>
                    </a:lnTo>
                    <a:lnTo>
                      <a:pt x="0" y="59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25" name="Sev01">
              <a:extLst>
                <a:ext uri="{FF2B5EF4-FFF2-40B4-BE49-F238E27FC236}">
                  <a16:creationId xmlns:a16="http://schemas.microsoft.com/office/drawing/2014/main" id="{44C54B03-4C42-4F07-BD62-8E670B7A3E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66875" y="1495138"/>
              <a:ext cx="719711" cy="7197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 dirty="0">
                <a:solidFill>
                  <a:schemeClr val="bg1"/>
                </a:solidFill>
                <a:latin typeface="FontAwesome" pitchFamily="2" charset="0"/>
              </a:endParaRPr>
            </a:p>
          </p:txBody>
        </p:sp>
        <p:sp>
          <p:nvSpPr>
            <p:cNvPr id="26" name="Sev01">
              <a:extLst>
                <a:ext uri="{FF2B5EF4-FFF2-40B4-BE49-F238E27FC236}">
                  <a16:creationId xmlns:a16="http://schemas.microsoft.com/office/drawing/2014/main" id="{C153BCB5-CE85-4E85-81B4-1AB740ABFE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58856" y="1962656"/>
              <a:ext cx="719711" cy="7197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 dirty="0">
                <a:solidFill>
                  <a:schemeClr val="bg1"/>
                </a:solidFill>
                <a:latin typeface="FontAwesome" pitchFamily="2" charset="0"/>
              </a:endParaRPr>
            </a:p>
          </p:txBody>
        </p:sp>
        <p:sp>
          <p:nvSpPr>
            <p:cNvPr id="27" name="Sev01">
              <a:extLst>
                <a:ext uri="{FF2B5EF4-FFF2-40B4-BE49-F238E27FC236}">
                  <a16:creationId xmlns:a16="http://schemas.microsoft.com/office/drawing/2014/main" id="{88ED6E13-A2E1-4485-AAC6-7CA74FC740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66875" y="3362038"/>
              <a:ext cx="719711" cy="7197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 dirty="0">
                <a:solidFill>
                  <a:schemeClr val="bg1"/>
                </a:solidFill>
                <a:latin typeface="FontAwesome" pitchFamily="2" charset="0"/>
              </a:endParaRPr>
            </a:p>
          </p:txBody>
        </p:sp>
        <p:sp>
          <p:nvSpPr>
            <p:cNvPr id="28" name="Sev01">
              <a:extLst>
                <a:ext uri="{FF2B5EF4-FFF2-40B4-BE49-F238E27FC236}">
                  <a16:creationId xmlns:a16="http://schemas.microsoft.com/office/drawing/2014/main" id="{B271FD31-0A80-4D48-8B80-BA64BBAF79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58856" y="2894519"/>
              <a:ext cx="719711" cy="7197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 dirty="0">
                <a:solidFill>
                  <a:schemeClr val="bg1"/>
                </a:solidFill>
                <a:latin typeface="FontAwesome" pitchFamily="2" charset="0"/>
              </a:endParaRPr>
            </a:p>
          </p:txBody>
        </p:sp>
        <p:sp>
          <p:nvSpPr>
            <p:cNvPr id="29" name="Sev01">
              <a:extLst>
                <a:ext uri="{FF2B5EF4-FFF2-40B4-BE49-F238E27FC236}">
                  <a16:creationId xmlns:a16="http://schemas.microsoft.com/office/drawing/2014/main" id="{3C7F8022-D963-4052-9B40-229DC59824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02428" y="2428587"/>
              <a:ext cx="719711" cy="7197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 dirty="0">
                <a:solidFill>
                  <a:schemeClr val="bg1"/>
                </a:solidFill>
                <a:latin typeface="FontAwesome" pitchFamily="2" charset="0"/>
              </a:endParaRPr>
            </a:p>
          </p:txBody>
        </p:sp>
        <p:sp>
          <p:nvSpPr>
            <p:cNvPr id="30" name="Text Placeholder 3">
              <a:extLst>
                <a:ext uri="{FF2B5EF4-FFF2-40B4-BE49-F238E27FC236}">
                  <a16:creationId xmlns:a16="http://schemas.microsoft.com/office/drawing/2014/main" id="{EC924F95-84B9-4985-9606-2C9886ACCD26}"/>
                </a:ext>
              </a:extLst>
            </p:cNvPr>
            <p:cNvSpPr txBox="1">
              <a:spLocks/>
            </p:cNvSpPr>
            <p:nvPr/>
          </p:nvSpPr>
          <p:spPr>
            <a:xfrm>
              <a:off x="1280337" y="1759429"/>
              <a:ext cx="1750225" cy="175148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lvl1pPr marL="0" indent="0" algn="ctr">
                <a:buNone/>
                <a:defRPr sz="16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algn="l"/>
              <a:r>
                <a:rPr lang="en-US" sz="1100" b="1" dirty="0">
                  <a:solidFill>
                    <a:schemeClr val="bg1"/>
                  </a:solidFill>
                </a:rPr>
                <a:t>Nielsen Sales Data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31" name="Text Placeholder 3">
              <a:extLst>
                <a:ext uri="{FF2B5EF4-FFF2-40B4-BE49-F238E27FC236}">
                  <a16:creationId xmlns:a16="http://schemas.microsoft.com/office/drawing/2014/main" id="{F8C447F2-89D7-494D-B039-4C92D8DC5C85}"/>
                </a:ext>
              </a:extLst>
            </p:cNvPr>
            <p:cNvSpPr txBox="1">
              <a:spLocks/>
            </p:cNvSpPr>
            <p:nvPr/>
          </p:nvSpPr>
          <p:spPr>
            <a:xfrm>
              <a:off x="1280337" y="2229613"/>
              <a:ext cx="1750225" cy="175148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lvl1pPr marL="0" indent="0" algn="ctr">
                <a:buNone/>
                <a:defRPr sz="16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algn="l"/>
              <a:r>
                <a:rPr lang="en-US" sz="1100" b="1" dirty="0" err="1">
                  <a:solidFill>
                    <a:schemeClr val="bg1"/>
                  </a:solidFill>
                </a:rPr>
                <a:t>Dunnhumby</a:t>
              </a:r>
              <a:r>
                <a:rPr lang="en-US" sz="1100" b="1" dirty="0">
                  <a:solidFill>
                    <a:schemeClr val="bg1"/>
                  </a:solidFill>
                </a:rPr>
                <a:t> Consumer Data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32" name="Text Placeholder 3">
              <a:extLst>
                <a:ext uri="{FF2B5EF4-FFF2-40B4-BE49-F238E27FC236}">
                  <a16:creationId xmlns:a16="http://schemas.microsoft.com/office/drawing/2014/main" id="{13EF389B-87D6-4221-BF84-D427FBD7F49E}"/>
                </a:ext>
              </a:extLst>
            </p:cNvPr>
            <p:cNvSpPr txBox="1">
              <a:spLocks/>
            </p:cNvSpPr>
            <p:nvPr/>
          </p:nvSpPr>
          <p:spPr>
            <a:xfrm>
              <a:off x="1280337" y="2699797"/>
              <a:ext cx="1750225" cy="175148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lvl1pPr marL="0" indent="0" algn="ctr">
                <a:buNone/>
                <a:defRPr sz="16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algn="l"/>
              <a:r>
                <a:rPr lang="en-US" sz="1100" b="1" dirty="0">
                  <a:solidFill>
                    <a:schemeClr val="bg1"/>
                  </a:solidFill>
                </a:rPr>
                <a:t>Mediacom Media Data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33" name="Text Placeholder 3">
              <a:extLst>
                <a:ext uri="{FF2B5EF4-FFF2-40B4-BE49-F238E27FC236}">
                  <a16:creationId xmlns:a16="http://schemas.microsoft.com/office/drawing/2014/main" id="{D236F350-D37B-4345-A894-AD8EDDED094B}"/>
                </a:ext>
              </a:extLst>
            </p:cNvPr>
            <p:cNvSpPr txBox="1">
              <a:spLocks/>
            </p:cNvSpPr>
            <p:nvPr/>
          </p:nvSpPr>
          <p:spPr>
            <a:xfrm>
              <a:off x="1280337" y="3169982"/>
              <a:ext cx="1750225" cy="175148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lvl1pPr marL="0" indent="0" algn="ctr">
                <a:buNone/>
                <a:defRPr sz="16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algn="l"/>
              <a:r>
                <a:rPr lang="en-US" sz="1100" b="1" dirty="0">
                  <a:solidFill>
                    <a:schemeClr val="bg1"/>
                  </a:solidFill>
                </a:rPr>
                <a:t>Helios Financial Data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34" name="Text Placeholder 3">
              <a:extLst>
                <a:ext uri="{FF2B5EF4-FFF2-40B4-BE49-F238E27FC236}">
                  <a16:creationId xmlns:a16="http://schemas.microsoft.com/office/drawing/2014/main" id="{A0E88512-E190-4AE3-8E1F-63AEDDE5E71D}"/>
                </a:ext>
              </a:extLst>
            </p:cNvPr>
            <p:cNvSpPr txBox="1">
              <a:spLocks/>
            </p:cNvSpPr>
            <p:nvPr/>
          </p:nvSpPr>
          <p:spPr>
            <a:xfrm>
              <a:off x="1280337" y="3640165"/>
              <a:ext cx="1750225" cy="175148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lvl1pPr marL="0" indent="0" algn="ctr">
                <a:buNone/>
                <a:defRPr sz="16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algn="l"/>
              <a:r>
                <a:rPr lang="en-US" sz="1100" b="1" dirty="0">
                  <a:solidFill>
                    <a:schemeClr val="bg1"/>
                  </a:solidFill>
                </a:rPr>
                <a:t>Manual Uploads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41" name="Picture 2" descr="Image result for nielsen logo">
            <a:extLst>
              <a:ext uri="{FF2B5EF4-FFF2-40B4-BE49-F238E27FC236}">
                <a16:creationId xmlns:a16="http://schemas.microsoft.com/office/drawing/2014/main" id="{9B5033E4-33E5-4104-BF0C-86A4CF820D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4" t="27671" r="8090" b="18499"/>
          <a:stretch/>
        </p:blipFill>
        <p:spPr bwMode="auto">
          <a:xfrm>
            <a:off x="3055309" y="1693193"/>
            <a:ext cx="538587" cy="192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" descr="Image result for mediacom logo">
            <a:extLst>
              <a:ext uri="{FF2B5EF4-FFF2-40B4-BE49-F238E27FC236}">
                <a16:creationId xmlns:a16="http://schemas.microsoft.com/office/drawing/2014/main" id="{3B7BBE0A-7CC3-4E09-8EDC-1A9B3E3088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84" t="30107" r="14882" b="31674"/>
          <a:stretch/>
        </p:blipFill>
        <p:spPr bwMode="auto">
          <a:xfrm>
            <a:off x="4552122" y="2593608"/>
            <a:ext cx="622852" cy="147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6" descr="Image result for dunnhumby logo">
            <a:extLst>
              <a:ext uri="{FF2B5EF4-FFF2-40B4-BE49-F238E27FC236}">
                <a16:creationId xmlns:a16="http://schemas.microsoft.com/office/drawing/2014/main" id="{8756D5B8-970C-41F1-A2DB-7BFB5463C5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0951" y="2174023"/>
            <a:ext cx="557980" cy="128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0" descr="Image result for helios data logo">
            <a:extLst>
              <a:ext uri="{FF2B5EF4-FFF2-40B4-BE49-F238E27FC236}">
                <a16:creationId xmlns:a16="http://schemas.microsoft.com/office/drawing/2014/main" id="{DD06B098-B13B-491C-B095-84DD105317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30" t="40117" r="35529" b="40547"/>
          <a:stretch/>
        </p:blipFill>
        <p:spPr bwMode="auto">
          <a:xfrm>
            <a:off x="3775800" y="3028389"/>
            <a:ext cx="549965" cy="210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Graphic 45" descr="Programmer">
            <a:extLst>
              <a:ext uri="{FF2B5EF4-FFF2-40B4-BE49-F238E27FC236}">
                <a16:creationId xmlns:a16="http://schemas.microsoft.com/office/drawing/2014/main" id="{60F87673-3740-41ED-8E15-23176124C7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113496" y="3344417"/>
            <a:ext cx="401983" cy="401983"/>
          </a:xfrm>
          <a:prstGeom prst="rect">
            <a:avLst/>
          </a:prstGeom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E529B6EB-1B41-485A-9404-8EF4E485B6DD}"/>
              </a:ext>
            </a:extLst>
          </p:cNvPr>
          <p:cNvGrpSpPr/>
          <p:nvPr/>
        </p:nvGrpSpPr>
        <p:grpSpPr>
          <a:xfrm>
            <a:off x="7563453" y="3549312"/>
            <a:ext cx="1096859" cy="969440"/>
            <a:chOff x="6265340" y="3704103"/>
            <a:chExt cx="1096859" cy="969440"/>
          </a:xfrm>
        </p:grpSpPr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1B6CC9A3-C2D2-417C-A03D-C7FCB08E764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371746" y="3704103"/>
              <a:ext cx="692441" cy="692441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D697E773-6F58-48EC-83F0-A251EE63FE13}"/>
                </a:ext>
              </a:extLst>
            </p:cNvPr>
            <p:cNvSpPr txBox="1"/>
            <p:nvPr/>
          </p:nvSpPr>
          <p:spPr>
            <a:xfrm>
              <a:off x="6265340" y="4396544"/>
              <a:ext cx="109685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bg2">
                      <a:lumMod val="50000"/>
                    </a:schemeClr>
                  </a:solidFill>
                </a:rPr>
                <a:t>Faster Insights 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4583AC9-296F-4A26-BD51-E4F6563030CD}"/>
              </a:ext>
            </a:extLst>
          </p:cNvPr>
          <p:cNvGrpSpPr/>
          <p:nvPr/>
        </p:nvGrpSpPr>
        <p:grpSpPr>
          <a:xfrm>
            <a:off x="6687085" y="2057296"/>
            <a:ext cx="2629231" cy="1164054"/>
            <a:chOff x="2153089" y="3291726"/>
            <a:chExt cx="2629231" cy="1164054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2016BB38-960B-4104-8A17-E095D0AC9C6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120233" y="3291726"/>
              <a:ext cx="694944" cy="694944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FD4FA6C7-66DD-461A-AAA8-39C8CCB640C8}"/>
                </a:ext>
              </a:extLst>
            </p:cNvPr>
            <p:cNvSpPr txBox="1"/>
            <p:nvPr/>
          </p:nvSpPr>
          <p:spPr>
            <a:xfrm>
              <a:off x="2153089" y="3994115"/>
              <a:ext cx="262923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2">
                      <a:lumMod val="50000"/>
                    </a:schemeClr>
                  </a:solidFill>
                </a:rPr>
                <a:t>Holistic Performance </a:t>
              </a:r>
            </a:p>
            <a:p>
              <a:pPr algn="ctr"/>
              <a:r>
                <a:rPr lang="en-US" sz="1200" b="1" dirty="0">
                  <a:solidFill>
                    <a:schemeClr val="bg2">
                      <a:lumMod val="50000"/>
                    </a:schemeClr>
                  </a:solidFill>
                </a:rPr>
                <a:t>Assessment 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0715739-DE77-4278-8374-A4A83736D4C9}"/>
              </a:ext>
            </a:extLst>
          </p:cNvPr>
          <p:cNvGrpSpPr/>
          <p:nvPr/>
        </p:nvGrpSpPr>
        <p:grpSpPr>
          <a:xfrm>
            <a:off x="7213163" y="777175"/>
            <a:ext cx="1797440" cy="971942"/>
            <a:chOff x="6683172" y="3289223"/>
            <a:chExt cx="1797440" cy="971942"/>
          </a:xfrm>
        </p:grpSpPr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6496B029-9F66-4F5A-A3F8-9340C216A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062364" y="3289223"/>
              <a:ext cx="694944" cy="694944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73420B9B-43C2-4AB8-BA4A-185D7B088205}"/>
                </a:ext>
              </a:extLst>
            </p:cNvPr>
            <p:cNvSpPr txBox="1"/>
            <p:nvPr/>
          </p:nvSpPr>
          <p:spPr>
            <a:xfrm>
              <a:off x="6683172" y="3984166"/>
              <a:ext cx="17974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bg2">
                      <a:lumMod val="50000"/>
                    </a:schemeClr>
                  </a:solidFill>
                </a:rPr>
                <a:t>Data – driven decisions</a:t>
              </a: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BEA6EEFD-D2C5-4D23-AEAF-86CB09D0F4AF}"/>
              </a:ext>
            </a:extLst>
          </p:cNvPr>
          <p:cNvSpPr txBox="1"/>
          <p:nvPr/>
        </p:nvSpPr>
        <p:spPr>
          <a:xfrm>
            <a:off x="943636" y="1097459"/>
            <a:ext cx="25639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One Platform. All Data.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2C87D908-FB96-4AF4-A3FC-86ECABB3C9F6}"/>
              </a:ext>
            </a:extLst>
          </p:cNvPr>
          <p:cNvSpPr txBox="1">
            <a:spLocks/>
          </p:cNvSpPr>
          <p:nvPr/>
        </p:nvSpPr>
        <p:spPr>
          <a:xfrm>
            <a:off x="1384917" y="6321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rmAutofit fontScale="85000" lnSpcReduction="10000"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1600" dirty="0"/>
              <a:t>The KIND 360 Project serves as the foundation of the analytical journey embarked by KIND by acting as a one-stop shop for data and reducing time to insight </a:t>
            </a:r>
          </a:p>
        </p:txBody>
      </p:sp>
      <p:sp>
        <p:nvSpPr>
          <p:cNvPr id="61" name="Arrow: Chevron 60">
            <a:extLst>
              <a:ext uri="{FF2B5EF4-FFF2-40B4-BE49-F238E27FC236}">
                <a16:creationId xmlns:a16="http://schemas.microsoft.com/office/drawing/2014/main" id="{648A9FAC-7067-4825-82AD-077293413806}"/>
              </a:ext>
            </a:extLst>
          </p:cNvPr>
          <p:cNvSpPr/>
          <p:nvPr/>
        </p:nvSpPr>
        <p:spPr>
          <a:xfrm>
            <a:off x="6020490" y="1740079"/>
            <a:ext cx="518143" cy="1648415"/>
          </a:xfrm>
          <a:prstGeom prst="chevron">
            <a:avLst>
              <a:gd name="adj" fmla="val 67903"/>
            </a:avLst>
          </a:prstGeom>
          <a:solidFill>
            <a:srgbClr val="A8B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3436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itle 1">
            <a:extLst>
              <a:ext uri="{FF2B5EF4-FFF2-40B4-BE49-F238E27FC236}">
                <a16:creationId xmlns:a16="http://schemas.microsoft.com/office/drawing/2014/main" id="{A50648AB-BFAB-4D6E-AEAC-422BCE2AA3B6}"/>
              </a:ext>
            </a:extLst>
          </p:cNvPr>
          <p:cNvSpPr txBox="1">
            <a:spLocks/>
          </p:cNvSpPr>
          <p:nvPr/>
        </p:nvSpPr>
        <p:spPr>
          <a:xfrm>
            <a:off x="1384917" y="6321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1600" dirty="0"/>
              <a:t>The 360 Project includes 6 performance dashboards answering key business questions catering to 19 markets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8966AB9-B511-4C2E-B24B-31B44FF1847A}"/>
              </a:ext>
            </a:extLst>
          </p:cNvPr>
          <p:cNvGrpSpPr/>
          <p:nvPr/>
        </p:nvGrpSpPr>
        <p:grpSpPr>
          <a:xfrm>
            <a:off x="6180249" y="834393"/>
            <a:ext cx="809989" cy="794417"/>
            <a:chOff x="167164" y="3441262"/>
            <a:chExt cx="809989" cy="794417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580CEE2-6B69-4527-B31B-3AE0D59B409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2190" y="3441262"/>
              <a:ext cx="548640" cy="548640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E4BC4330-2994-488D-AD3C-3375CAC7D158}"/>
                </a:ext>
              </a:extLst>
            </p:cNvPr>
            <p:cNvSpPr txBox="1"/>
            <p:nvPr/>
          </p:nvSpPr>
          <p:spPr>
            <a:xfrm>
              <a:off x="167164" y="3958680"/>
              <a:ext cx="80998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bg2">
                      <a:lumMod val="50000"/>
                    </a:schemeClr>
                  </a:solidFill>
                </a:rPr>
                <a:t>Customer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61163CA-0748-49DE-B02C-7D61FE00058E}"/>
              </a:ext>
            </a:extLst>
          </p:cNvPr>
          <p:cNvGrpSpPr/>
          <p:nvPr/>
        </p:nvGrpSpPr>
        <p:grpSpPr>
          <a:xfrm>
            <a:off x="6310575" y="1785545"/>
            <a:ext cx="549336" cy="798446"/>
            <a:chOff x="1224912" y="3441262"/>
            <a:chExt cx="549336" cy="798446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DDFB1D8-79CA-4214-902B-DC8397BCFC5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25608" y="3441262"/>
              <a:ext cx="548640" cy="548640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8686956-B008-4639-ADC7-361F6A7DC3AF}"/>
                </a:ext>
              </a:extLst>
            </p:cNvPr>
            <p:cNvSpPr txBox="1"/>
            <p:nvPr/>
          </p:nvSpPr>
          <p:spPr>
            <a:xfrm>
              <a:off x="1224912" y="3962709"/>
              <a:ext cx="51169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bg2">
                      <a:lumMod val="50000"/>
                    </a:schemeClr>
                  </a:solidFill>
                </a:rPr>
                <a:t>Pric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4F422AD-4096-487A-8467-C767D63E1CEB}"/>
              </a:ext>
            </a:extLst>
          </p:cNvPr>
          <p:cNvGrpSpPr/>
          <p:nvPr/>
        </p:nvGrpSpPr>
        <p:grpSpPr>
          <a:xfrm>
            <a:off x="6180249" y="2851546"/>
            <a:ext cx="906495" cy="794417"/>
            <a:chOff x="1984364" y="3441262"/>
            <a:chExt cx="906495" cy="79441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EEE58CD-5788-41B5-8D65-6FDC766F0A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89271" y="3441262"/>
              <a:ext cx="548640" cy="548640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B896D247-C42E-4729-ADF5-353A224753A6}"/>
                </a:ext>
              </a:extLst>
            </p:cNvPr>
            <p:cNvSpPr txBox="1"/>
            <p:nvPr/>
          </p:nvSpPr>
          <p:spPr>
            <a:xfrm>
              <a:off x="1984364" y="3958680"/>
              <a:ext cx="9064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bg2">
                      <a:lumMod val="50000"/>
                    </a:schemeClr>
                  </a:solidFill>
                </a:rPr>
                <a:t>Consumer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F495FE4-BB9A-4EAB-A4E0-9823483DB032}"/>
              </a:ext>
            </a:extLst>
          </p:cNvPr>
          <p:cNvGrpSpPr/>
          <p:nvPr/>
        </p:nvGrpSpPr>
        <p:grpSpPr>
          <a:xfrm>
            <a:off x="6217843" y="3878525"/>
            <a:ext cx="734800" cy="794416"/>
            <a:chOff x="2838482" y="3441262"/>
            <a:chExt cx="734800" cy="794416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5E67961-744B-4933-97D7-915BDBED11B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920569" y="3441262"/>
              <a:ext cx="548640" cy="548640"/>
            </a:xfrm>
            <a:prstGeom prst="rect">
              <a:avLst/>
            </a:prstGeom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EF542B3D-A8B2-436F-BE8B-B6B03B11A024}"/>
                </a:ext>
              </a:extLst>
            </p:cNvPr>
            <p:cNvSpPr txBox="1"/>
            <p:nvPr/>
          </p:nvSpPr>
          <p:spPr>
            <a:xfrm>
              <a:off x="2838482" y="3958679"/>
              <a:ext cx="7348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bg2">
                      <a:lumMod val="50000"/>
                    </a:schemeClr>
                  </a:solidFill>
                </a:rPr>
                <a:t>Channel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67AD114-F2C5-469E-9374-CDACAA1F1C47}"/>
              </a:ext>
            </a:extLst>
          </p:cNvPr>
          <p:cNvGrpSpPr/>
          <p:nvPr/>
        </p:nvGrpSpPr>
        <p:grpSpPr>
          <a:xfrm>
            <a:off x="7886208" y="3878526"/>
            <a:ext cx="548640" cy="794415"/>
            <a:chOff x="3730218" y="3441262"/>
            <a:chExt cx="548640" cy="79441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ECB7443-7237-44B4-A779-4E801FF9E1B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730218" y="3441262"/>
              <a:ext cx="548640" cy="548640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74CDA10-0341-49BE-98A0-F6002121D8CF}"/>
                </a:ext>
              </a:extLst>
            </p:cNvPr>
            <p:cNvSpPr txBox="1"/>
            <p:nvPr/>
          </p:nvSpPr>
          <p:spPr>
            <a:xfrm>
              <a:off x="3730218" y="3958678"/>
              <a:ext cx="5486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bg2">
                      <a:lumMod val="50000"/>
                    </a:schemeClr>
                  </a:solidFill>
                </a:rPr>
                <a:t>Sale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10A0717-197B-49D2-AB68-5595BED6DAFB}"/>
              </a:ext>
            </a:extLst>
          </p:cNvPr>
          <p:cNvGrpSpPr/>
          <p:nvPr/>
        </p:nvGrpSpPr>
        <p:grpSpPr>
          <a:xfrm>
            <a:off x="7552908" y="2851546"/>
            <a:ext cx="1383110" cy="794414"/>
            <a:chOff x="4173589" y="3441262"/>
            <a:chExt cx="1383110" cy="794414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7A2A14B5-C292-4D34-A1A5-46A1151D90D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466016" y="3441262"/>
              <a:ext cx="548640" cy="548640"/>
            </a:xfrm>
            <a:prstGeom prst="rect">
              <a:avLst/>
            </a:prstGeom>
          </p:spPr>
        </p:pic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AFB247D3-5EB6-4560-B96E-A14BC8CE60E2}"/>
                </a:ext>
              </a:extLst>
            </p:cNvPr>
            <p:cNvSpPr txBox="1"/>
            <p:nvPr/>
          </p:nvSpPr>
          <p:spPr>
            <a:xfrm>
              <a:off x="4173589" y="3958677"/>
              <a:ext cx="138311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bg2">
                      <a:lumMod val="50000"/>
                    </a:schemeClr>
                  </a:solidFill>
                </a:rPr>
                <a:t>Financial Health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490BCB1-4066-4A8E-BA78-F24FA39B54B7}"/>
              </a:ext>
            </a:extLst>
          </p:cNvPr>
          <p:cNvGrpSpPr/>
          <p:nvPr/>
        </p:nvGrpSpPr>
        <p:grpSpPr>
          <a:xfrm>
            <a:off x="7753302" y="1785545"/>
            <a:ext cx="737856" cy="791736"/>
            <a:chOff x="4389957" y="3441262"/>
            <a:chExt cx="737856" cy="791736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34B099C-69F6-4F16-BDD4-ED4BF12FC40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484445" y="3441262"/>
              <a:ext cx="548640" cy="548640"/>
            </a:xfrm>
            <a:prstGeom prst="rect">
              <a:avLst/>
            </a:prstGeom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E324DAFC-0ABE-438D-A8F4-B24F155182E5}"/>
                </a:ext>
              </a:extLst>
            </p:cNvPr>
            <p:cNvSpPr txBox="1"/>
            <p:nvPr/>
          </p:nvSpPr>
          <p:spPr>
            <a:xfrm>
              <a:off x="4389957" y="3955999"/>
              <a:ext cx="7378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bg2">
                      <a:lumMod val="50000"/>
                    </a:schemeClr>
                  </a:solidFill>
                </a:rPr>
                <a:t>Product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8010DFA-E998-4853-9338-6F7AD719842D}"/>
              </a:ext>
            </a:extLst>
          </p:cNvPr>
          <p:cNvGrpSpPr/>
          <p:nvPr/>
        </p:nvGrpSpPr>
        <p:grpSpPr>
          <a:xfrm>
            <a:off x="7837867" y="837075"/>
            <a:ext cx="626024" cy="791735"/>
            <a:chOff x="5190331" y="3441262"/>
            <a:chExt cx="626024" cy="79173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98E4D78A-710E-4DB7-B186-2A64DF75B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238672" y="3441262"/>
              <a:ext cx="548640" cy="548640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7494396-E2BF-4727-990E-6EBEEC7F2CC2}"/>
                </a:ext>
              </a:extLst>
            </p:cNvPr>
            <p:cNvSpPr txBox="1"/>
            <p:nvPr/>
          </p:nvSpPr>
          <p:spPr>
            <a:xfrm>
              <a:off x="5190331" y="3955998"/>
              <a:ext cx="62602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bg2">
                      <a:lumMod val="50000"/>
                    </a:schemeClr>
                  </a:solidFill>
                </a:rPr>
                <a:t>Media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40F39E95-1561-4A49-B4D5-BC827A7D038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9848" y="1059052"/>
            <a:ext cx="5378482" cy="3025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148562"/>
      </p:ext>
    </p:extLst>
  </p:cSld>
  <p:clrMapOvr>
    <a:masterClrMapping/>
  </p:clrMapOvr>
  <p:transition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F00159-48D9-440C-B073-3D89A65C62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2976" y="2446572"/>
            <a:ext cx="8229600" cy="2166127"/>
          </a:xfrm>
        </p:spPr>
        <p:txBody>
          <a:bodyPr/>
          <a:lstStyle/>
          <a:p>
            <a:r>
              <a:rPr lang="en-US" sz="4000" dirty="0"/>
              <a:t>Thank You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60F48F-CD4B-4E33-967B-6DFE3C1E3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B17443-64CF-48E9-972B-800E9AD14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22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2198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Freeform 44">
            <a:extLst>
              <a:ext uri="{FF2B5EF4-FFF2-40B4-BE49-F238E27FC236}">
                <a16:creationId xmlns:a16="http://schemas.microsoft.com/office/drawing/2014/main" id="{8CD8B1BA-4A5D-4BA2-83A9-293291D7AADB}"/>
              </a:ext>
            </a:extLst>
          </p:cNvPr>
          <p:cNvSpPr/>
          <p:nvPr/>
        </p:nvSpPr>
        <p:spPr>
          <a:xfrm>
            <a:off x="42336" y="668573"/>
            <a:ext cx="2943905" cy="3903956"/>
          </a:xfrm>
          <a:custGeom>
            <a:avLst/>
            <a:gdLst>
              <a:gd name="connsiteX0" fmla="*/ 10275 w 4479533"/>
              <a:gd name="connsiteY0" fmla="*/ 10274 h 4839128"/>
              <a:gd name="connsiteX1" fmla="*/ 647272 w 4479533"/>
              <a:gd name="connsiteY1" fmla="*/ 2414427 h 4839128"/>
              <a:gd name="connsiteX2" fmla="*/ 0 w 4479533"/>
              <a:gd name="connsiteY2" fmla="*/ 4839128 h 4839128"/>
              <a:gd name="connsiteX3" fmla="*/ 3832261 w 4479533"/>
              <a:gd name="connsiteY3" fmla="*/ 4839128 h 4839128"/>
              <a:gd name="connsiteX4" fmla="*/ 4479533 w 4479533"/>
              <a:gd name="connsiteY4" fmla="*/ 2424701 h 4839128"/>
              <a:gd name="connsiteX5" fmla="*/ 3832261 w 4479533"/>
              <a:gd name="connsiteY5" fmla="*/ 0 h 4839128"/>
              <a:gd name="connsiteX6" fmla="*/ 10275 w 4479533"/>
              <a:gd name="connsiteY6" fmla="*/ 10274 h 4839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79533" h="4839128">
                <a:moveTo>
                  <a:pt x="10275" y="10274"/>
                </a:moveTo>
                <a:lnTo>
                  <a:pt x="647272" y="2414427"/>
                </a:lnTo>
                <a:lnTo>
                  <a:pt x="0" y="4839128"/>
                </a:lnTo>
                <a:lnTo>
                  <a:pt x="3832261" y="4839128"/>
                </a:lnTo>
                <a:lnTo>
                  <a:pt x="4479533" y="2424701"/>
                </a:lnTo>
                <a:lnTo>
                  <a:pt x="3832261" y="0"/>
                </a:lnTo>
                <a:lnTo>
                  <a:pt x="10275" y="10274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81000" rIns="216000" bIns="81000" rtlCol="0" anchor="ctr"/>
          <a:lstStyle/>
          <a:p>
            <a:pPr algn="ctr"/>
            <a:endParaRPr lang="en-US" sz="1500" dirty="0"/>
          </a:p>
        </p:txBody>
      </p:sp>
      <p:sp>
        <p:nvSpPr>
          <p:cNvPr id="92" name="Freeform 45">
            <a:extLst>
              <a:ext uri="{FF2B5EF4-FFF2-40B4-BE49-F238E27FC236}">
                <a16:creationId xmlns:a16="http://schemas.microsoft.com/office/drawing/2014/main" id="{49434962-D0DB-40FC-B081-277E151145B4}"/>
              </a:ext>
            </a:extLst>
          </p:cNvPr>
          <p:cNvSpPr/>
          <p:nvPr/>
        </p:nvSpPr>
        <p:spPr>
          <a:xfrm>
            <a:off x="2889955" y="675966"/>
            <a:ext cx="3774572" cy="3889167"/>
          </a:xfrm>
          <a:custGeom>
            <a:avLst/>
            <a:gdLst>
              <a:gd name="connsiteX0" fmla="*/ 10275 w 4479533"/>
              <a:gd name="connsiteY0" fmla="*/ 10274 h 4839128"/>
              <a:gd name="connsiteX1" fmla="*/ 647272 w 4479533"/>
              <a:gd name="connsiteY1" fmla="*/ 2414427 h 4839128"/>
              <a:gd name="connsiteX2" fmla="*/ 0 w 4479533"/>
              <a:gd name="connsiteY2" fmla="*/ 4839128 h 4839128"/>
              <a:gd name="connsiteX3" fmla="*/ 3832261 w 4479533"/>
              <a:gd name="connsiteY3" fmla="*/ 4839128 h 4839128"/>
              <a:gd name="connsiteX4" fmla="*/ 4479533 w 4479533"/>
              <a:gd name="connsiteY4" fmla="*/ 2424701 h 4839128"/>
              <a:gd name="connsiteX5" fmla="*/ 3832261 w 4479533"/>
              <a:gd name="connsiteY5" fmla="*/ 0 h 4839128"/>
              <a:gd name="connsiteX6" fmla="*/ 10275 w 4479533"/>
              <a:gd name="connsiteY6" fmla="*/ 10274 h 4839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79533" h="4839128">
                <a:moveTo>
                  <a:pt x="10275" y="10274"/>
                </a:moveTo>
                <a:lnTo>
                  <a:pt x="647272" y="2414427"/>
                </a:lnTo>
                <a:lnTo>
                  <a:pt x="0" y="4839128"/>
                </a:lnTo>
                <a:lnTo>
                  <a:pt x="3832261" y="4839128"/>
                </a:lnTo>
                <a:lnTo>
                  <a:pt x="4479533" y="2424701"/>
                </a:lnTo>
                <a:lnTo>
                  <a:pt x="3832261" y="0"/>
                </a:lnTo>
                <a:lnTo>
                  <a:pt x="10275" y="10274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81000" rIns="216000" bIns="81000" rtlCol="0" anchor="ctr"/>
          <a:lstStyle/>
          <a:p>
            <a:pPr algn="ctr"/>
            <a:endParaRPr lang="en-US" sz="1500" dirty="0"/>
          </a:p>
        </p:txBody>
      </p:sp>
      <p:sp>
        <p:nvSpPr>
          <p:cNvPr id="90" name="Freeform 46">
            <a:extLst>
              <a:ext uri="{FF2B5EF4-FFF2-40B4-BE49-F238E27FC236}">
                <a16:creationId xmlns:a16="http://schemas.microsoft.com/office/drawing/2014/main" id="{F4599093-138E-4501-AF63-0F0430736ADB}"/>
              </a:ext>
            </a:extLst>
          </p:cNvPr>
          <p:cNvSpPr/>
          <p:nvPr/>
        </p:nvSpPr>
        <p:spPr>
          <a:xfrm>
            <a:off x="6643544" y="675966"/>
            <a:ext cx="2374559" cy="3847761"/>
          </a:xfrm>
          <a:custGeom>
            <a:avLst/>
            <a:gdLst>
              <a:gd name="connsiteX0" fmla="*/ 10275 w 4479533"/>
              <a:gd name="connsiteY0" fmla="*/ 10274 h 4839128"/>
              <a:gd name="connsiteX1" fmla="*/ 647272 w 4479533"/>
              <a:gd name="connsiteY1" fmla="*/ 2414427 h 4839128"/>
              <a:gd name="connsiteX2" fmla="*/ 0 w 4479533"/>
              <a:gd name="connsiteY2" fmla="*/ 4839128 h 4839128"/>
              <a:gd name="connsiteX3" fmla="*/ 3832261 w 4479533"/>
              <a:gd name="connsiteY3" fmla="*/ 4839128 h 4839128"/>
              <a:gd name="connsiteX4" fmla="*/ 4479533 w 4479533"/>
              <a:gd name="connsiteY4" fmla="*/ 2424701 h 4839128"/>
              <a:gd name="connsiteX5" fmla="*/ 3832261 w 4479533"/>
              <a:gd name="connsiteY5" fmla="*/ 0 h 4839128"/>
              <a:gd name="connsiteX6" fmla="*/ 10275 w 4479533"/>
              <a:gd name="connsiteY6" fmla="*/ 10274 h 4839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79533" h="4839128">
                <a:moveTo>
                  <a:pt x="10275" y="10274"/>
                </a:moveTo>
                <a:lnTo>
                  <a:pt x="647272" y="2414427"/>
                </a:lnTo>
                <a:lnTo>
                  <a:pt x="0" y="4839128"/>
                </a:lnTo>
                <a:lnTo>
                  <a:pt x="3832261" y="4839128"/>
                </a:lnTo>
                <a:lnTo>
                  <a:pt x="4479533" y="2424701"/>
                </a:lnTo>
                <a:lnTo>
                  <a:pt x="3832261" y="0"/>
                </a:lnTo>
                <a:lnTo>
                  <a:pt x="10275" y="10274"/>
                </a:lnTo>
                <a:close/>
              </a:path>
            </a:pathLst>
          </a:cu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81000" rIns="216000" bIns="81000" rtlCol="0" anchor="ctr"/>
          <a:lstStyle/>
          <a:p>
            <a:pPr algn="ctr"/>
            <a:endParaRPr lang="en-US" sz="15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7E6339-E90D-468F-9766-D1D97B6F2B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6B7D2-B98C-44FD-8D04-7EC62A564975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14C16DB-C9D3-4191-94C2-4DA6249A55A7}"/>
              </a:ext>
            </a:extLst>
          </p:cNvPr>
          <p:cNvGrpSpPr/>
          <p:nvPr/>
        </p:nvGrpSpPr>
        <p:grpSpPr>
          <a:xfrm>
            <a:off x="0" y="1500099"/>
            <a:ext cx="2978015" cy="2796209"/>
            <a:chOff x="545676" y="1020417"/>
            <a:chExt cx="3721601" cy="3309454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76C2AB0F-6591-4726-AD4F-D0CDBC5948CF}"/>
                </a:ext>
              </a:extLst>
            </p:cNvPr>
            <p:cNvGrpSpPr/>
            <p:nvPr/>
          </p:nvGrpSpPr>
          <p:grpSpPr>
            <a:xfrm>
              <a:off x="545676" y="1020417"/>
              <a:ext cx="3721601" cy="3309454"/>
              <a:chOff x="582283" y="1077913"/>
              <a:chExt cx="3971266" cy="3424237"/>
            </a:xfrm>
          </p:grpSpPr>
          <p:grpSp>
            <p:nvGrpSpPr>
              <p:cNvPr id="5" name="Group 60">
                <a:extLst>
                  <a:ext uri="{FF2B5EF4-FFF2-40B4-BE49-F238E27FC236}">
                    <a16:creationId xmlns:a16="http://schemas.microsoft.com/office/drawing/2014/main" id="{48459D39-AD14-4CBE-83CD-CDE3FAFBCA4A}"/>
                  </a:ext>
                </a:extLst>
              </p:cNvPr>
              <p:cNvGrpSpPr/>
              <p:nvPr/>
            </p:nvGrpSpPr>
            <p:grpSpPr>
              <a:xfrm>
                <a:off x="582283" y="3487737"/>
                <a:ext cx="2241093" cy="1014413"/>
                <a:chOff x="582283" y="3487737"/>
                <a:chExt cx="2241093" cy="1014413"/>
              </a:xfrm>
            </p:grpSpPr>
            <p:sp>
              <p:nvSpPr>
                <p:cNvPr id="6" name="Rectangle 7">
                  <a:extLst>
                    <a:ext uri="{FF2B5EF4-FFF2-40B4-BE49-F238E27FC236}">
                      <a16:creationId xmlns:a16="http://schemas.microsoft.com/office/drawing/2014/main" id="{772883EF-1B8B-42F8-91BD-4D56404CB1E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73151" y="3487737"/>
                  <a:ext cx="1750225" cy="472405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  <p:sp>
              <p:nvSpPr>
                <p:cNvPr id="7" name="Rectangle 8">
                  <a:extLst>
                    <a:ext uri="{FF2B5EF4-FFF2-40B4-BE49-F238E27FC236}">
                      <a16:creationId xmlns:a16="http://schemas.microsoft.com/office/drawing/2014/main" id="{543197E5-0240-4812-9E75-B47AEF2543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2283" y="3903664"/>
                  <a:ext cx="314707" cy="598486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  <p:sp>
              <p:nvSpPr>
                <p:cNvPr id="8" name="Freeform 15">
                  <a:extLst>
                    <a:ext uri="{FF2B5EF4-FFF2-40B4-BE49-F238E27FC236}">
                      <a16:creationId xmlns:a16="http://schemas.microsoft.com/office/drawing/2014/main" id="{5AD35B82-1D28-42B4-902E-FFABECA1AF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1328" y="3487738"/>
                  <a:ext cx="191821" cy="1014412"/>
                </a:xfrm>
                <a:custGeom>
                  <a:avLst/>
                  <a:gdLst>
                    <a:gd name="T0" fmla="*/ 256 w 256"/>
                    <a:gd name="T1" fmla="*/ 0 h 639"/>
                    <a:gd name="T2" fmla="*/ 256 w 256"/>
                    <a:gd name="T3" fmla="*/ 295 h 639"/>
                    <a:gd name="T4" fmla="*/ 0 w 256"/>
                    <a:gd name="T5" fmla="*/ 639 h 639"/>
                    <a:gd name="T6" fmla="*/ 0 w 256"/>
                    <a:gd name="T7" fmla="*/ 262 h 639"/>
                    <a:gd name="T8" fmla="*/ 256 w 256"/>
                    <a:gd name="T9" fmla="*/ 0 h 6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6" h="639">
                      <a:moveTo>
                        <a:pt x="256" y="0"/>
                      </a:moveTo>
                      <a:lnTo>
                        <a:pt x="256" y="295"/>
                      </a:lnTo>
                      <a:lnTo>
                        <a:pt x="0" y="639"/>
                      </a:lnTo>
                      <a:lnTo>
                        <a:pt x="0" y="262"/>
                      </a:lnTo>
                      <a:lnTo>
                        <a:pt x="256" y="0"/>
                      </a:lnTo>
                      <a:close/>
                    </a:path>
                  </a:pathLst>
                </a:cu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</p:grpSp>
          <p:grpSp>
            <p:nvGrpSpPr>
              <p:cNvPr id="9" name="Group 25">
                <a:extLst>
                  <a:ext uri="{FF2B5EF4-FFF2-40B4-BE49-F238E27FC236}">
                    <a16:creationId xmlns:a16="http://schemas.microsoft.com/office/drawing/2014/main" id="{A6700119-FC86-4483-BFA5-5E267665EFE8}"/>
                  </a:ext>
                </a:extLst>
              </p:cNvPr>
              <p:cNvGrpSpPr/>
              <p:nvPr/>
            </p:nvGrpSpPr>
            <p:grpSpPr>
              <a:xfrm>
                <a:off x="582283" y="1077913"/>
                <a:ext cx="2241093" cy="1015330"/>
                <a:chOff x="582283" y="1077913"/>
                <a:chExt cx="2241093" cy="1015330"/>
              </a:xfrm>
            </p:grpSpPr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A35C66B4-B863-49F2-A3B1-5AC4DE67D06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2283" y="1077913"/>
                  <a:ext cx="314707" cy="630237"/>
                </a:xfrm>
                <a:prstGeom prst="rect">
                  <a:avLst/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  <p:sp>
              <p:nvSpPr>
                <p:cNvPr id="11" name="Freeform 10">
                  <a:extLst>
                    <a:ext uri="{FF2B5EF4-FFF2-40B4-BE49-F238E27FC236}">
                      <a16:creationId xmlns:a16="http://schemas.microsoft.com/office/drawing/2014/main" id="{8F092E8C-48EE-4EDD-AAB7-55D9F99DA2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3151" y="1620837"/>
                  <a:ext cx="1750225" cy="472406"/>
                </a:xfrm>
                <a:custGeom>
                  <a:avLst/>
                  <a:gdLst>
                    <a:gd name="T0" fmla="*/ 0 w 2603"/>
                    <a:gd name="T1" fmla="*/ 290 h 295"/>
                    <a:gd name="T2" fmla="*/ 0 w 2603"/>
                    <a:gd name="T3" fmla="*/ 0 h 295"/>
                    <a:gd name="T4" fmla="*/ 2603 w 2603"/>
                    <a:gd name="T5" fmla="*/ 0 h 295"/>
                    <a:gd name="T6" fmla="*/ 2603 w 2603"/>
                    <a:gd name="T7" fmla="*/ 295 h 295"/>
                    <a:gd name="T8" fmla="*/ 0 w 2603"/>
                    <a:gd name="T9" fmla="*/ 295 h 295"/>
                    <a:gd name="T10" fmla="*/ 0 w 2603"/>
                    <a:gd name="T11" fmla="*/ 290 h 2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603" h="295">
                      <a:moveTo>
                        <a:pt x="0" y="290"/>
                      </a:moveTo>
                      <a:lnTo>
                        <a:pt x="0" y="0"/>
                      </a:lnTo>
                      <a:lnTo>
                        <a:pt x="2603" y="0"/>
                      </a:lnTo>
                      <a:lnTo>
                        <a:pt x="2603" y="295"/>
                      </a:lnTo>
                      <a:lnTo>
                        <a:pt x="0" y="295"/>
                      </a:lnTo>
                      <a:lnTo>
                        <a:pt x="0" y="29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  <p:sp>
              <p:nvSpPr>
                <p:cNvPr id="12" name="Freeform 16">
                  <a:extLst>
                    <a:ext uri="{FF2B5EF4-FFF2-40B4-BE49-F238E27FC236}">
                      <a16:creationId xmlns:a16="http://schemas.microsoft.com/office/drawing/2014/main" id="{5176E2E0-E7B8-4A44-A223-3191DD9613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1328" y="1077913"/>
                  <a:ext cx="191821" cy="1003300"/>
                </a:xfrm>
                <a:custGeom>
                  <a:avLst/>
                  <a:gdLst>
                    <a:gd name="T0" fmla="*/ 0 w 256"/>
                    <a:gd name="T1" fmla="*/ 397 h 632"/>
                    <a:gd name="T2" fmla="*/ 0 w 256"/>
                    <a:gd name="T3" fmla="*/ 0 h 632"/>
                    <a:gd name="T4" fmla="*/ 256 w 256"/>
                    <a:gd name="T5" fmla="*/ 342 h 632"/>
                    <a:gd name="T6" fmla="*/ 256 w 256"/>
                    <a:gd name="T7" fmla="*/ 632 h 632"/>
                    <a:gd name="T8" fmla="*/ 0 w 256"/>
                    <a:gd name="T9" fmla="*/ 397 h 6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6" h="632">
                      <a:moveTo>
                        <a:pt x="0" y="397"/>
                      </a:moveTo>
                      <a:lnTo>
                        <a:pt x="0" y="0"/>
                      </a:lnTo>
                      <a:lnTo>
                        <a:pt x="256" y="342"/>
                      </a:lnTo>
                      <a:lnTo>
                        <a:pt x="256" y="632"/>
                      </a:lnTo>
                      <a:lnTo>
                        <a:pt x="0" y="397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</p:grpSp>
          <p:grpSp>
            <p:nvGrpSpPr>
              <p:cNvPr id="13" name="Group 26">
                <a:extLst>
                  <a:ext uri="{FF2B5EF4-FFF2-40B4-BE49-F238E27FC236}">
                    <a16:creationId xmlns:a16="http://schemas.microsoft.com/office/drawing/2014/main" id="{D369A4E6-9269-4891-84FA-038016D53AA9}"/>
                  </a:ext>
                </a:extLst>
              </p:cNvPr>
              <p:cNvGrpSpPr/>
              <p:nvPr/>
            </p:nvGrpSpPr>
            <p:grpSpPr>
              <a:xfrm>
                <a:off x="582283" y="1708150"/>
                <a:ext cx="2761320" cy="851806"/>
                <a:chOff x="582283" y="1708150"/>
                <a:chExt cx="2761320" cy="851806"/>
              </a:xfrm>
            </p:grpSpPr>
            <p:sp>
              <p:nvSpPr>
                <p:cNvPr id="14" name="Rectangle 5">
                  <a:extLst>
                    <a:ext uri="{FF2B5EF4-FFF2-40B4-BE49-F238E27FC236}">
                      <a16:creationId xmlns:a16="http://schemas.microsoft.com/office/drawing/2014/main" id="{BE4487AE-4B21-4800-85F3-26A46EF84E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73151" y="2089150"/>
                  <a:ext cx="2270452" cy="470806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  <p:sp>
              <p:nvSpPr>
                <p:cNvPr id="15" name="Rectangle 6">
                  <a:extLst>
                    <a:ext uri="{FF2B5EF4-FFF2-40B4-BE49-F238E27FC236}">
                      <a16:creationId xmlns:a16="http://schemas.microsoft.com/office/drawing/2014/main" id="{E8E68F79-D9FA-47F0-9001-2EF8DE951C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2283" y="1708150"/>
                  <a:ext cx="314707" cy="617537"/>
                </a:xfrm>
                <a:prstGeom prst="rect">
                  <a:avLst/>
                </a:pr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  <p:sp>
              <p:nvSpPr>
                <p:cNvPr id="16" name="Freeform 17">
                  <a:extLst>
                    <a:ext uri="{FF2B5EF4-FFF2-40B4-BE49-F238E27FC236}">
                      <a16:creationId xmlns:a16="http://schemas.microsoft.com/office/drawing/2014/main" id="{87DB0862-4451-4CDB-80C6-1653E3DDC3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1328" y="1708150"/>
                  <a:ext cx="191821" cy="847725"/>
                </a:xfrm>
                <a:custGeom>
                  <a:avLst/>
                  <a:gdLst>
                    <a:gd name="T0" fmla="*/ 256 w 256"/>
                    <a:gd name="T1" fmla="*/ 534 h 534"/>
                    <a:gd name="T2" fmla="*/ 0 w 256"/>
                    <a:gd name="T3" fmla="*/ 389 h 534"/>
                    <a:gd name="T4" fmla="*/ 0 w 256"/>
                    <a:gd name="T5" fmla="*/ 0 h 534"/>
                    <a:gd name="T6" fmla="*/ 256 w 256"/>
                    <a:gd name="T7" fmla="*/ 235 h 534"/>
                    <a:gd name="T8" fmla="*/ 256 w 256"/>
                    <a:gd name="T9" fmla="*/ 240 h 534"/>
                    <a:gd name="T10" fmla="*/ 256 w 256"/>
                    <a:gd name="T11" fmla="*/ 534 h 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6" h="534">
                      <a:moveTo>
                        <a:pt x="256" y="534"/>
                      </a:moveTo>
                      <a:lnTo>
                        <a:pt x="0" y="389"/>
                      </a:lnTo>
                      <a:lnTo>
                        <a:pt x="0" y="0"/>
                      </a:lnTo>
                      <a:lnTo>
                        <a:pt x="256" y="235"/>
                      </a:lnTo>
                      <a:lnTo>
                        <a:pt x="256" y="240"/>
                      </a:lnTo>
                      <a:lnTo>
                        <a:pt x="256" y="534"/>
                      </a:lnTo>
                      <a:close/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</p:grpSp>
          <p:grpSp>
            <p:nvGrpSpPr>
              <p:cNvPr id="17" name="Group 59">
                <a:extLst>
                  <a:ext uri="{FF2B5EF4-FFF2-40B4-BE49-F238E27FC236}">
                    <a16:creationId xmlns:a16="http://schemas.microsoft.com/office/drawing/2014/main" id="{A4209E7D-9F55-4321-81B3-6098F7627A54}"/>
                  </a:ext>
                </a:extLst>
              </p:cNvPr>
              <p:cNvGrpSpPr/>
              <p:nvPr/>
            </p:nvGrpSpPr>
            <p:grpSpPr>
              <a:xfrm>
                <a:off x="582283" y="3021013"/>
                <a:ext cx="2761320" cy="882650"/>
                <a:chOff x="582283" y="3021013"/>
                <a:chExt cx="2761320" cy="882650"/>
              </a:xfrm>
            </p:grpSpPr>
            <p:sp>
              <p:nvSpPr>
                <p:cNvPr id="18" name="Rectangle 11">
                  <a:extLst>
                    <a:ext uri="{FF2B5EF4-FFF2-40B4-BE49-F238E27FC236}">
                      <a16:creationId xmlns:a16="http://schemas.microsoft.com/office/drawing/2014/main" id="{918777D2-EBE8-4EEC-A8DF-6DC72362632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2283" y="3270250"/>
                  <a:ext cx="314707" cy="633412"/>
                </a:xfrm>
                <a:prstGeom prst="rect">
                  <a:avLst/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  <p:sp>
              <p:nvSpPr>
                <p:cNvPr id="19" name="Rectangle 12">
                  <a:extLst>
                    <a:ext uri="{FF2B5EF4-FFF2-40B4-BE49-F238E27FC236}">
                      <a16:creationId xmlns:a16="http://schemas.microsoft.com/office/drawing/2014/main" id="{0DEB579C-6C3E-4AA0-A3CA-E4543B38D82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73151" y="3021013"/>
                  <a:ext cx="2270452" cy="470805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  <p:sp>
              <p:nvSpPr>
                <p:cNvPr id="20" name="Freeform 18">
                  <a:extLst>
                    <a:ext uri="{FF2B5EF4-FFF2-40B4-BE49-F238E27FC236}">
                      <a16:creationId xmlns:a16="http://schemas.microsoft.com/office/drawing/2014/main" id="{E6F9842E-8E9F-4208-AB99-CF86B80E39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1328" y="3021013"/>
                  <a:ext cx="191821" cy="882650"/>
                </a:xfrm>
                <a:custGeom>
                  <a:avLst/>
                  <a:gdLst>
                    <a:gd name="T0" fmla="*/ 256 w 256"/>
                    <a:gd name="T1" fmla="*/ 294 h 556"/>
                    <a:gd name="T2" fmla="*/ 0 w 256"/>
                    <a:gd name="T3" fmla="*/ 556 h 556"/>
                    <a:gd name="T4" fmla="*/ 0 w 256"/>
                    <a:gd name="T5" fmla="*/ 157 h 556"/>
                    <a:gd name="T6" fmla="*/ 256 w 256"/>
                    <a:gd name="T7" fmla="*/ 0 h 556"/>
                    <a:gd name="T8" fmla="*/ 256 w 256"/>
                    <a:gd name="T9" fmla="*/ 294 h 5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6" h="556">
                      <a:moveTo>
                        <a:pt x="256" y="294"/>
                      </a:moveTo>
                      <a:lnTo>
                        <a:pt x="0" y="556"/>
                      </a:lnTo>
                      <a:lnTo>
                        <a:pt x="0" y="157"/>
                      </a:lnTo>
                      <a:lnTo>
                        <a:pt x="256" y="0"/>
                      </a:lnTo>
                      <a:lnTo>
                        <a:pt x="256" y="294"/>
                      </a:lnTo>
                      <a:close/>
                    </a:path>
                  </a:pathLst>
                </a:cu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</p:grpSp>
          <p:grpSp>
            <p:nvGrpSpPr>
              <p:cNvPr id="21" name="Group 58">
                <a:extLst>
                  <a:ext uri="{FF2B5EF4-FFF2-40B4-BE49-F238E27FC236}">
                    <a16:creationId xmlns:a16="http://schemas.microsoft.com/office/drawing/2014/main" id="{4AFB7AF2-56D3-4DF9-B8F0-BB035DDEE1B3}"/>
                  </a:ext>
                </a:extLst>
              </p:cNvPr>
              <p:cNvGrpSpPr/>
              <p:nvPr/>
            </p:nvGrpSpPr>
            <p:grpSpPr>
              <a:xfrm>
                <a:off x="582283" y="2325688"/>
                <a:ext cx="3361399" cy="944562"/>
                <a:chOff x="582283" y="2325688"/>
                <a:chExt cx="3361399" cy="944562"/>
              </a:xfrm>
            </p:grpSpPr>
            <p:sp>
              <p:nvSpPr>
                <p:cNvPr id="22" name="Rectangle 13">
                  <a:extLst>
                    <a:ext uri="{FF2B5EF4-FFF2-40B4-BE49-F238E27FC236}">
                      <a16:creationId xmlns:a16="http://schemas.microsoft.com/office/drawing/2014/main" id="{6A6DA8A0-1CFB-4880-94B0-484ED6FDDB3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73151" y="2555875"/>
                  <a:ext cx="2870531" cy="469203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  <p:sp>
              <p:nvSpPr>
                <p:cNvPr id="23" name="Rectangle 14">
                  <a:extLst>
                    <a:ext uri="{FF2B5EF4-FFF2-40B4-BE49-F238E27FC236}">
                      <a16:creationId xmlns:a16="http://schemas.microsoft.com/office/drawing/2014/main" id="{DA8ED87F-CAF0-471F-9AE0-8938C4FF1FB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2283" y="2325688"/>
                  <a:ext cx="314707" cy="944562"/>
                </a:xfrm>
                <a:prstGeom prst="rect">
                  <a:avLst/>
                </a:pr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  <p:sp>
              <p:nvSpPr>
                <p:cNvPr id="24" name="Freeform 19">
                  <a:extLst>
                    <a:ext uri="{FF2B5EF4-FFF2-40B4-BE49-F238E27FC236}">
                      <a16:creationId xmlns:a16="http://schemas.microsoft.com/office/drawing/2014/main" id="{4A13A3AE-C6E0-4A83-AFA9-5055A18EA9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1328" y="2325688"/>
                  <a:ext cx="191821" cy="944562"/>
                </a:xfrm>
                <a:custGeom>
                  <a:avLst/>
                  <a:gdLst>
                    <a:gd name="T0" fmla="*/ 0 w 256"/>
                    <a:gd name="T1" fmla="*/ 0 h 595"/>
                    <a:gd name="T2" fmla="*/ 256 w 256"/>
                    <a:gd name="T3" fmla="*/ 145 h 595"/>
                    <a:gd name="T4" fmla="*/ 256 w 256"/>
                    <a:gd name="T5" fmla="*/ 438 h 595"/>
                    <a:gd name="T6" fmla="*/ 0 w 256"/>
                    <a:gd name="T7" fmla="*/ 595 h 595"/>
                    <a:gd name="T8" fmla="*/ 0 w 256"/>
                    <a:gd name="T9" fmla="*/ 0 h 5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6" h="595">
                      <a:moveTo>
                        <a:pt x="0" y="0"/>
                      </a:moveTo>
                      <a:lnTo>
                        <a:pt x="256" y="145"/>
                      </a:lnTo>
                      <a:lnTo>
                        <a:pt x="256" y="438"/>
                      </a:lnTo>
                      <a:lnTo>
                        <a:pt x="0" y="59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</p:grpSp>
          <p:sp>
            <p:nvSpPr>
              <p:cNvPr id="25" name="Sev01">
                <a:extLst>
                  <a:ext uri="{FF2B5EF4-FFF2-40B4-BE49-F238E27FC236}">
                    <a16:creationId xmlns:a16="http://schemas.microsoft.com/office/drawing/2014/main" id="{44C54B03-4C42-4F07-BD62-8E670B7A3E4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689207" y="1506772"/>
                <a:ext cx="719710" cy="719711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solidFill>
                    <a:schemeClr val="bg1"/>
                  </a:solidFill>
                  <a:latin typeface="FontAwesome" pitchFamily="2" charset="0"/>
                </a:endParaRPr>
              </a:p>
            </p:txBody>
          </p:sp>
          <p:sp>
            <p:nvSpPr>
              <p:cNvPr id="26" name="Sev01">
                <a:extLst>
                  <a:ext uri="{FF2B5EF4-FFF2-40B4-BE49-F238E27FC236}">
                    <a16:creationId xmlns:a16="http://schemas.microsoft.com/office/drawing/2014/main" id="{C153BCB5-CE85-4E85-81B4-1AB740ABFEF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188658" y="1940767"/>
                <a:ext cx="719710" cy="719711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solidFill>
                    <a:schemeClr val="bg1"/>
                  </a:solidFill>
                  <a:latin typeface="FontAwesome" pitchFamily="2" charset="0"/>
                </a:endParaRPr>
              </a:p>
            </p:txBody>
          </p:sp>
          <p:sp>
            <p:nvSpPr>
              <p:cNvPr id="27" name="Sev01">
                <a:extLst>
                  <a:ext uri="{FF2B5EF4-FFF2-40B4-BE49-F238E27FC236}">
                    <a16:creationId xmlns:a16="http://schemas.microsoft.com/office/drawing/2014/main" id="{88ED6E13-A2E1-4485-AAC6-7CA74FC7401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689206" y="3373671"/>
                <a:ext cx="719710" cy="719711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solidFill>
                    <a:schemeClr val="bg1"/>
                  </a:solidFill>
                  <a:latin typeface="FontAwesome" pitchFamily="2" charset="0"/>
                </a:endParaRPr>
              </a:p>
            </p:txBody>
          </p:sp>
          <p:sp>
            <p:nvSpPr>
              <p:cNvPr id="28" name="Sev01">
                <a:extLst>
                  <a:ext uri="{FF2B5EF4-FFF2-40B4-BE49-F238E27FC236}">
                    <a16:creationId xmlns:a16="http://schemas.microsoft.com/office/drawing/2014/main" id="{B271FD31-0A80-4D48-8B80-BA64BBAF795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162983" y="2910393"/>
                <a:ext cx="719710" cy="719711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solidFill>
                    <a:schemeClr val="bg1"/>
                  </a:solidFill>
                  <a:latin typeface="FontAwesome" pitchFamily="2" charset="0"/>
                </a:endParaRPr>
              </a:p>
            </p:txBody>
          </p:sp>
          <p:sp>
            <p:nvSpPr>
              <p:cNvPr id="29" name="Sev01">
                <a:extLst>
                  <a:ext uri="{FF2B5EF4-FFF2-40B4-BE49-F238E27FC236}">
                    <a16:creationId xmlns:a16="http://schemas.microsoft.com/office/drawing/2014/main" id="{3C7F8022-D963-4052-9B40-229DC598248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833839" y="2379833"/>
                <a:ext cx="719710" cy="719711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solidFill>
                    <a:schemeClr val="bg1"/>
                  </a:solidFill>
                  <a:latin typeface="FontAwesome" pitchFamily="2" charset="0"/>
                </a:endParaRPr>
              </a:p>
            </p:txBody>
          </p:sp>
          <p:sp>
            <p:nvSpPr>
              <p:cNvPr id="30" name="Text Placeholder 3">
                <a:extLst>
                  <a:ext uri="{FF2B5EF4-FFF2-40B4-BE49-F238E27FC236}">
                    <a16:creationId xmlns:a16="http://schemas.microsoft.com/office/drawing/2014/main" id="{EC924F95-84B9-4985-9606-2C9886ACCD2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80337" y="1759429"/>
                <a:ext cx="1750225" cy="127381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>
                <a:lvl1pPr marL="0" indent="0" algn="ctr">
                  <a:buNone/>
                  <a:defRPr sz="16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</a:defRPr>
                </a:lvl1pPr>
                <a:lvl2pPr marL="457200" indent="0">
                  <a:buNone/>
                  <a:defRPr sz="1200"/>
                </a:lvl2pPr>
                <a:lvl3pPr marL="914400" indent="0">
                  <a:buNone/>
                  <a:defRPr sz="1000"/>
                </a:lvl3pPr>
                <a:lvl4pPr marL="1371600" indent="0">
                  <a:buNone/>
                  <a:defRPr sz="900"/>
                </a:lvl4pPr>
                <a:lvl5pPr marL="1828800" indent="0">
                  <a:buNone/>
                  <a:defRPr sz="900"/>
                </a:lvl5pPr>
                <a:lvl6pPr marL="2286000" indent="0">
                  <a:buNone/>
                  <a:defRPr sz="900"/>
                </a:lvl6pPr>
                <a:lvl7pPr marL="2743200" indent="0">
                  <a:buNone/>
                  <a:defRPr sz="900"/>
                </a:lvl7pPr>
                <a:lvl8pPr marL="3200400" indent="0">
                  <a:buNone/>
                  <a:defRPr sz="900"/>
                </a:lvl8pPr>
                <a:lvl9pPr marL="3657600" indent="0">
                  <a:buNone/>
                  <a:defRPr sz="900"/>
                </a:lvl9pPr>
              </a:lstStyle>
              <a:p>
                <a:pPr algn="l"/>
                <a:r>
                  <a:rPr lang="en-US" sz="800" b="1" dirty="0">
                    <a:solidFill>
                      <a:schemeClr val="bg1"/>
                    </a:solidFill>
                  </a:rPr>
                  <a:t>Nielsen Data</a:t>
                </a:r>
                <a:endParaRPr lang="en-US" sz="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Text Placeholder 3">
                <a:extLst>
                  <a:ext uri="{FF2B5EF4-FFF2-40B4-BE49-F238E27FC236}">
                    <a16:creationId xmlns:a16="http://schemas.microsoft.com/office/drawing/2014/main" id="{F8C447F2-89D7-494D-B039-4C92D8DC5C8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80337" y="2229613"/>
                <a:ext cx="1750225" cy="127381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>
                <a:lvl1pPr marL="0" indent="0" algn="ctr">
                  <a:buNone/>
                  <a:defRPr sz="16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</a:defRPr>
                </a:lvl1pPr>
                <a:lvl2pPr marL="457200" indent="0">
                  <a:buNone/>
                  <a:defRPr sz="1200"/>
                </a:lvl2pPr>
                <a:lvl3pPr marL="914400" indent="0">
                  <a:buNone/>
                  <a:defRPr sz="1000"/>
                </a:lvl3pPr>
                <a:lvl4pPr marL="1371600" indent="0">
                  <a:buNone/>
                  <a:defRPr sz="900"/>
                </a:lvl4pPr>
                <a:lvl5pPr marL="1828800" indent="0">
                  <a:buNone/>
                  <a:defRPr sz="900"/>
                </a:lvl5pPr>
                <a:lvl6pPr marL="2286000" indent="0">
                  <a:buNone/>
                  <a:defRPr sz="900"/>
                </a:lvl6pPr>
                <a:lvl7pPr marL="2743200" indent="0">
                  <a:buNone/>
                  <a:defRPr sz="900"/>
                </a:lvl7pPr>
                <a:lvl8pPr marL="3200400" indent="0">
                  <a:buNone/>
                  <a:defRPr sz="900"/>
                </a:lvl8pPr>
                <a:lvl9pPr marL="3657600" indent="0">
                  <a:buNone/>
                  <a:defRPr sz="900"/>
                </a:lvl9pPr>
              </a:lstStyle>
              <a:p>
                <a:pPr algn="l"/>
                <a:r>
                  <a:rPr lang="en-US" sz="800" b="1" dirty="0" err="1">
                    <a:solidFill>
                      <a:schemeClr val="bg1"/>
                    </a:solidFill>
                  </a:rPr>
                  <a:t>Dunnhumby</a:t>
                </a:r>
                <a:r>
                  <a:rPr lang="en-US" sz="800" b="1" dirty="0">
                    <a:solidFill>
                      <a:schemeClr val="bg1"/>
                    </a:solidFill>
                  </a:rPr>
                  <a:t> Consumer Data</a:t>
                </a:r>
                <a:endParaRPr lang="en-US" sz="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Text Placeholder 3">
                <a:extLst>
                  <a:ext uri="{FF2B5EF4-FFF2-40B4-BE49-F238E27FC236}">
                    <a16:creationId xmlns:a16="http://schemas.microsoft.com/office/drawing/2014/main" id="{13EF389B-87D6-4221-BF84-D427FBD7F49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80337" y="2699797"/>
                <a:ext cx="1750225" cy="127381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>
                <a:lvl1pPr marL="0" indent="0" algn="ctr">
                  <a:buNone/>
                  <a:defRPr sz="16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</a:defRPr>
                </a:lvl1pPr>
                <a:lvl2pPr marL="457200" indent="0">
                  <a:buNone/>
                  <a:defRPr sz="1200"/>
                </a:lvl2pPr>
                <a:lvl3pPr marL="914400" indent="0">
                  <a:buNone/>
                  <a:defRPr sz="1000"/>
                </a:lvl3pPr>
                <a:lvl4pPr marL="1371600" indent="0">
                  <a:buNone/>
                  <a:defRPr sz="900"/>
                </a:lvl4pPr>
                <a:lvl5pPr marL="1828800" indent="0">
                  <a:buNone/>
                  <a:defRPr sz="900"/>
                </a:lvl5pPr>
                <a:lvl6pPr marL="2286000" indent="0">
                  <a:buNone/>
                  <a:defRPr sz="900"/>
                </a:lvl6pPr>
                <a:lvl7pPr marL="2743200" indent="0">
                  <a:buNone/>
                  <a:defRPr sz="900"/>
                </a:lvl7pPr>
                <a:lvl8pPr marL="3200400" indent="0">
                  <a:buNone/>
                  <a:defRPr sz="900"/>
                </a:lvl8pPr>
                <a:lvl9pPr marL="3657600" indent="0">
                  <a:buNone/>
                  <a:defRPr sz="900"/>
                </a:lvl9pPr>
              </a:lstStyle>
              <a:p>
                <a:pPr algn="l"/>
                <a:r>
                  <a:rPr lang="en-US" sz="800" b="1" dirty="0">
                    <a:solidFill>
                      <a:schemeClr val="bg1"/>
                    </a:solidFill>
                  </a:rPr>
                  <a:t>Mediacom Media Data</a:t>
                </a:r>
                <a:endParaRPr lang="en-US" sz="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Text Placeholder 3">
                <a:extLst>
                  <a:ext uri="{FF2B5EF4-FFF2-40B4-BE49-F238E27FC236}">
                    <a16:creationId xmlns:a16="http://schemas.microsoft.com/office/drawing/2014/main" id="{D236F350-D37B-4345-A894-AD8EDDED094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80337" y="3169982"/>
                <a:ext cx="1750225" cy="127381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>
                <a:lvl1pPr marL="0" indent="0" algn="ctr">
                  <a:buNone/>
                  <a:defRPr sz="16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</a:defRPr>
                </a:lvl1pPr>
                <a:lvl2pPr marL="457200" indent="0">
                  <a:buNone/>
                  <a:defRPr sz="1200"/>
                </a:lvl2pPr>
                <a:lvl3pPr marL="914400" indent="0">
                  <a:buNone/>
                  <a:defRPr sz="1000"/>
                </a:lvl3pPr>
                <a:lvl4pPr marL="1371600" indent="0">
                  <a:buNone/>
                  <a:defRPr sz="900"/>
                </a:lvl4pPr>
                <a:lvl5pPr marL="1828800" indent="0">
                  <a:buNone/>
                  <a:defRPr sz="900"/>
                </a:lvl5pPr>
                <a:lvl6pPr marL="2286000" indent="0">
                  <a:buNone/>
                  <a:defRPr sz="900"/>
                </a:lvl6pPr>
                <a:lvl7pPr marL="2743200" indent="0">
                  <a:buNone/>
                  <a:defRPr sz="900"/>
                </a:lvl7pPr>
                <a:lvl8pPr marL="3200400" indent="0">
                  <a:buNone/>
                  <a:defRPr sz="900"/>
                </a:lvl8pPr>
                <a:lvl9pPr marL="3657600" indent="0">
                  <a:buNone/>
                  <a:defRPr sz="900"/>
                </a:lvl9pPr>
              </a:lstStyle>
              <a:p>
                <a:pPr algn="l"/>
                <a:r>
                  <a:rPr lang="en-US" sz="800" b="1" dirty="0">
                    <a:solidFill>
                      <a:schemeClr val="bg1"/>
                    </a:solidFill>
                  </a:rPr>
                  <a:t>Helios Financial Data</a:t>
                </a:r>
                <a:endParaRPr lang="en-US" sz="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Text Placeholder 3">
                <a:extLst>
                  <a:ext uri="{FF2B5EF4-FFF2-40B4-BE49-F238E27FC236}">
                    <a16:creationId xmlns:a16="http://schemas.microsoft.com/office/drawing/2014/main" id="{A0E88512-E190-4AE3-8E1F-63AEDDE5E71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80337" y="3640165"/>
                <a:ext cx="1750225" cy="127381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>
                <a:lvl1pPr marL="0" indent="0" algn="ctr">
                  <a:buNone/>
                  <a:defRPr sz="16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</a:defRPr>
                </a:lvl1pPr>
                <a:lvl2pPr marL="457200" indent="0">
                  <a:buNone/>
                  <a:defRPr sz="1200"/>
                </a:lvl2pPr>
                <a:lvl3pPr marL="914400" indent="0">
                  <a:buNone/>
                  <a:defRPr sz="1000"/>
                </a:lvl3pPr>
                <a:lvl4pPr marL="1371600" indent="0">
                  <a:buNone/>
                  <a:defRPr sz="900"/>
                </a:lvl4pPr>
                <a:lvl5pPr marL="1828800" indent="0">
                  <a:buNone/>
                  <a:defRPr sz="900"/>
                </a:lvl5pPr>
                <a:lvl6pPr marL="2286000" indent="0">
                  <a:buNone/>
                  <a:defRPr sz="900"/>
                </a:lvl6pPr>
                <a:lvl7pPr marL="2743200" indent="0">
                  <a:buNone/>
                  <a:defRPr sz="900"/>
                </a:lvl7pPr>
                <a:lvl8pPr marL="3200400" indent="0">
                  <a:buNone/>
                  <a:defRPr sz="900"/>
                </a:lvl8pPr>
                <a:lvl9pPr marL="3657600" indent="0">
                  <a:buNone/>
                  <a:defRPr sz="900"/>
                </a:lvl9pPr>
              </a:lstStyle>
              <a:p>
                <a:pPr algn="l"/>
                <a:r>
                  <a:rPr lang="en-US" sz="800" b="1" dirty="0">
                    <a:solidFill>
                      <a:schemeClr val="bg1"/>
                    </a:solidFill>
                  </a:rPr>
                  <a:t>Manual Uploads</a:t>
                </a:r>
                <a:endParaRPr lang="en-US" sz="600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41" name="Picture 2" descr="Image result for nielsen logo">
              <a:extLst>
                <a:ext uri="{FF2B5EF4-FFF2-40B4-BE49-F238E27FC236}">
                  <a16:creationId xmlns:a16="http://schemas.microsoft.com/office/drawing/2014/main" id="{9B5033E4-33E5-4104-BF0C-86A4CF820DD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04" t="27671" r="8090" b="18499"/>
            <a:stretch/>
          </p:blipFill>
          <p:spPr bwMode="auto">
            <a:xfrm>
              <a:off x="2599392" y="1699068"/>
              <a:ext cx="538587" cy="1923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4" descr="Image result for mediacom logo">
              <a:extLst>
                <a:ext uri="{FF2B5EF4-FFF2-40B4-BE49-F238E27FC236}">
                  <a16:creationId xmlns:a16="http://schemas.microsoft.com/office/drawing/2014/main" id="{3B7BBE0A-7CC3-4E09-8EDC-1A9B3E30889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84" t="30107" r="14882" b="31674"/>
            <a:stretch/>
          </p:blipFill>
          <p:spPr bwMode="auto">
            <a:xfrm>
              <a:off x="3705944" y="2587934"/>
              <a:ext cx="485924" cy="114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6" descr="Image result for dunnhumby logo">
              <a:extLst>
                <a:ext uri="{FF2B5EF4-FFF2-40B4-BE49-F238E27FC236}">
                  <a16:creationId xmlns:a16="http://schemas.microsoft.com/office/drawing/2014/main" id="{8756D5B8-970C-41F1-A2DB-7BFB5463C5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0895" y="2147500"/>
              <a:ext cx="557980" cy="128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0" descr="Image result for helios data logo">
              <a:extLst>
                <a:ext uri="{FF2B5EF4-FFF2-40B4-BE49-F238E27FC236}">
                  <a16:creationId xmlns:a16="http://schemas.microsoft.com/office/drawing/2014/main" id="{DD06B098-B13B-491C-B095-84DD1053175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030" t="40117" r="35529" b="40547"/>
            <a:stretch/>
          </p:blipFill>
          <p:spPr bwMode="auto">
            <a:xfrm>
              <a:off x="3021685" y="3038363"/>
              <a:ext cx="549964" cy="2108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Graphic 45" descr="Programmer">
              <a:extLst>
                <a:ext uri="{FF2B5EF4-FFF2-40B4-BE49-F238E27FC236}">
                  <a16:creationId xmlns:a16="http://schemas.microsoft.com/office/drawing/2014/main" id="{60F87673-3740-41ED-8E15-23176124C71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57579" y="3350293"/>
              <a:ext cx="401983" cy="401983"/>
            </a:xfrm>
            <a:prstGeom prst="rect">
              <a:avLst/>
            </a:prstGeom>
          </p:spPr>
        </p:pic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BEA6EEFD-D2C5-4D23-AEAF-86CB09D0F4AF}"/>
              </a:ext>
            </a:extLst>
          </p:cNvPr>
          <p:cNvSpPr txBox="1"/>
          <p:nvPr/>
        </p:nvSpPr>
        <p:spPr>
          <a:xfrm>
            <a:off x="4194285" y="3402108"/>
            <a:ext cx="25639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ne Platform. All Data.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2C87D908-FB96-4AF4-A3FC-86ECABB3C9F6}"/>
              </a:ext>
            </a:extLst>
          </p:cNvPr>
          <p:cNvSpPr txBox="1">
            <a:spLocks/>
          </p:cNvSpPr>
          <p:nvPr/>
        </p:nvSpPr>
        <p:spPr>
          <a:xfrm>
            <a:off x="1384917" y="6321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rmAutofit fontScale="85000" lnSpcReduction="10000"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1600" dirty="0"/>
              <a:t>The KIND 360 Project serves as the foundation of the analytical journey embarked by KIND by acting as a one-stop shop for data and reducing time to insight 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6A98950-6E6B-4905-B219-758AFDFC5F4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10146"/>
          <a:stretch/>
        </p:blipFill>
        <p:spPr>
          <a:xfrm>
            <a:off x="3468986" y="1876162"/>
            <a:ext cx="2943905" cy="1487924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40F3EF64-3A7A-40F9-B5E1-F98821A28113}"/>
              </a:ext>
            </a:extLst>
          </p:cNvPr>
          <p:cNvSpPr txBox="1"/>
          <p:nvPr/>
        </p:nvSpPr>
        <p:spPr>
          <a:xfrm>
            <a:off x="1029967" y="923754"/>
            <a:ext cx="709899" cy="32316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en-US" sz="2100" b="1" dirty="0">
                <a:solidFill>
                  <a:sysClr val="windowText" lastClr="000000"/>
                </a:solidFill>
              </a:rPr>
              <a:t>DATA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4ECE550-ECD5-4A1F-8626-EF597DC3013C}"/>
              </a:ext>
            </a:extLst>
          </p:cNvPr>
          <p:cNvSpPr txBox="1"/>
          <p:nvPr/>
        </p:nvSpPr>
        <p:spPr>
          <a:xfrm>
            <a:off x="7541608" y="874620"/>
            <a:ext cx="882422" cy="32316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en-US" sz="2100" b="1" dirty="0">
                <a:solidFill>
                  <a:sysClr val="windowText" lastClr="000000"/>
                </a:solidFill>
              </a:rPr>
              <a:t>VALUE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BC4C5AD-C96F-4CD0-9395-693AD59FBA75}"/>
              </a:ext>
            </a:extLst>
          </p:cNvPr>
          <p:cNvSpPr txBox="1"/>
          <p:nvPr/>
        </p:nvSpPr>
        <p:spPr>
          <a:xfrm>
            <a:off x="3699210" y="869327"/>
            <a:ext cx="2219739" cy="32316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en-US" sz="2100" b="1" dirty="0">
                <a:solidFill>
                  <a:sysClr val="windowText" lastClr="000000"/>
                </a:solidFill>
              </a:rPr>
              <a:t>HOW MIGHT WE?</a:t>
            </a: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6337B8DD-2D3E-4C2B-81E2-D8BA3BC4984A}"/>
              </a:ext>
            </a:extLst>
          </p:cNvPr>
          <p:cNvGrpSpPr/>
          <p:nvPr/>
        </p:nvGrpSpPr>
        <p:grpSpPr>
          <a:xfrm>
            <a:off x="7629835" y="3351269"/>
            <a:ext cx="806779" cy="876234"/>
            <a:chOff x="6265340" y="3704103"/>
            <a:chExt cx="1096859" cy="1274334"/>
          </a:xfrm>
        </p:grpSpPr>
        <p:pic>
          <p:nvPicPr>
            <p:cNvPr id="108" name="Picture 107">
              <a:extLst>
                <a:ext uri="{FF2B5EF4-FFF2-40B4-BE49-F238E27FC236}">
                  <a16:creationId xmlns:a16="http://schemas.microsoft.com/office/drawing/2014/main" id="{5BDDE4D6-5963-4ED6-9B7F-A0496B18FA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371746" y="3704103"/>
              <a:ext cx="692441" cy="692441"/>
            </a:xfrm>
            <a:prstGeom prst="rect">
              <a:avLst/>
            </a:prstGeom>
          </p:spPr>
        </p:pic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53425786-2D74-4263-9E6C-71F935697A97}"/>
                </a:ext>
              </a:extLst>
            </p:cNvPr>
            <p:cNvSpPr txBox="1"/>
            <p:nvPr/>
          </p:nvSpPr>
          <p:spPr>
            <a:xfrm>
              <a:off x="6265340" y="4396545"/>
              <a:ext cx="1096859" cy="5818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2">
                      <a:lumMod val="50000"/>
                    </a:schemeClr>
                  </a:solidFill>
                </a:rPr>
                <a:t>Faster Insights </a:t>
              </a: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FC080757-D2FC-4E39-AFD9-F70A26407AAB}"/>
              </a:ext>
            </a:extLst>
          </p:cNvPr>
          <p:cNvGrpSpPr/>
          <p:nvPr/>
        </p:nvGrpSpPr>
        <p:grpSpPr>
          <a:xfrm>
            <a:off x="7025644" y="2359000"/>
            <a:ext cx="1933893" cy="1206966"/>
            <a:chOff x="2012643" y="2713951"/>
            <a:chExt cx="2629231" cy="1755327"/>
          </a:xfrm>
        </p:grpSpPr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id="{03DB9545-B057-402B-91E3-CC12775861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979787" y="2713951"/>
              <a:ext cx="694944" cy="694944"/>
            </a:xfrm>
            <a:prstGeom prst="rect">
              <a:avLst/>
            </a:prstGeom>
          </p:spPr>
        </p:pic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261ABC41-1C0F-4154-861B-4F73E81E77C1}"/>
                </a:ext>
              </a:extLst>
            </p:cNvPr>
            <p:cNvSpPr txBox="1"/>
            <p:nvPr/>
          </p:nvSpPr>
          <p:spPr>
            <a:xfrm>
              <a:off x="2012643" y="3416339"/>
              <a:ext cx="2629231" cy="10529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2">
                      <a:lumMod val="50000"/>
                    </a:schemeClr>
                  </a:solidFill>
                </a:rPr>
                <a:t>Holistic Performance </a:t>
              </a:r>
            </a:p>
            <a:p>
              <a:pPr algn="ctr"/>
              <a:r>
                <a:rPr lang="en-US" sz="1000" b="1" dirty="0">
                  <a:solidFill>
                    <a:schemeClr val="bg2">
                      <a:lumMod val="50000"/>
                    </a:schemeClr>
                  </a:solidFill>
                </a:rPr>
                <a:t>Assessment 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2CC72F0-009D-4E27-BB89-C24BB733FDF9}"/>
              </a:ext>
            </a:extLst>
          </p:cNvPr>
          <p:cNvGrpSpPr/>
          <p:nvPr/>
        </p:nvGrpSpPr>
        <p:grpSpPr>
          <a:xfrm>
            <a:off x="7238165" y="1366296"/>
            <a:ext cx="1322081" cy="890379"/>
            <a:chOff x="6511115" y="3289223"/>
            <a:chExt cx="1797440" cy="1294905"/>
          </a:xfrm>
        </p:grpSpPr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1E7FA436-2542-4610-B09F-9CEAACF13E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062364" y="3289223"/>
              <a:ext cx="694944" cy="694944"/>
            </a:xfrm>
            <a:prstGeom prst="rect">
              <a:avLst/>
            </a:prstGeom>
          </p:spPr>
        </p:pic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0BE0F638-CB1F-462A-8DCD-AB015817A785}"/>
                </a:ext>
              </a:extLst>
            </p:cNvPr>
            <p:cNvSpPr txBox="1"/>
            <p:nvPr/>
          </p:nvSpPr>
          <p:spPr>
            <a:xfrm>
              <a:off x="6511115" y="4002236"/>
              <a:ext cx="1797440" cy="5818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2">
                      <a:lumMod val="50000"/>
                    </a:schemeClr>
                  </a:solidFill>
                </a:rPr>
                <a:t>Data – driven decisions</a:t>
              </a:r>
            </a:p>
          </p:txBody>
        </p: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B30E4109-3E29-4D3B-A31A-B91CCD7D761B}"/>
              </a:ext>
            </a:extLst>
          </p:cNvPr>
          <p:cNvSpPr txBox="1"/>
          <p:nvPr/>
        </p:nvSpPr>
        <p:spPr>
          <a:xfrm>
            <a:off x="3022055" y="4098202"/>
            <a:ext cx="332392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Across lenses like </a:t>
            </a:r>
            <a:r>
              <a:rPr lang="en-US" sz="1200" b="1" dirty="0"/>
              <a:t>Customer, Product, Consumer, Media, Finance </a:t>
            </a:r>
          </a:p>
        </p:txBody>
      </p:sp>
    </p:spTree>
    <p:extLst>
      <p:ext uri="{BB962C8B-B14F-4D97-AF65-F5344CB8AC3E}">
        <p14:creationId xmlns:p14="http://schemas.microsoft.com/office/powerpoint/2010/main" val="8261718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A7B3FA-AAA0-47C7-B165-A260F0BCD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B358E2C-41E5-4416-AE36-A3D1B8C8F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3439" y="1022004"/>
            <a:ext cx="7249695" cy="545855"/>
          </a:xfrm>
        </p:spPr>
        <p:txBody>
          <a:bodyPr>
            <a:noAutofit/>
          </a:bodyPr>
          <a:lstStyle/>
          <a:p>
            <a:r>
              <a:rPr lang="en-US" sz="3200" spc="0" dirty="0"/>
              <a:t>Agenda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ED60644-453A-4872-86BA-7B618A2A0FA8}"/>
              </a:ext>
            </a:extLst>
          </p:cNvPr>
          <p:cNvSpPr txBox="1">
            <a:spLocks/>
          </p:cNvSpPr>
          <p:nvPr/>
        </p:nvSpPr>
        <p:spPr>
          <a:xfrm>
            <a:off x="1521508" y="185798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>
                <a:latin typeface="Helvetica" panose="020B0604020202020204" pitchFamily="34" charset="0"/>
                <a:cs typeface="Helvetica" panose="020B0604020202020204" pitchFamily="34" charset="0"/>
              </a:rPr>
              <a:t>360 Projec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Key Analyses and Insigh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>
                <a:latin typeface="Helvetica" panose="020B0604020202020204" pitchFamily="34" charset="0"/>
                <a:cs typeface="Helvetica" panose="020B0604020202020204" pitchFamily="34" charset="0"/>
              </a:rPr>
              <a:t>Activation Effectiveness</a:t>
            </a:r>
          </a:p>
        </p:txBody>
      </p:sp>
    </p:spTree>
    <p:extLst>
      <p:ext uri="{BB962C8B-B14F-4D97-AF65-F5344CB8AC3E}">
        <p14:creationId xmlns:p14="http://schemas.microsoft.com/office/powerpoint/2010/main" val="5011047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8695F9A-FDD8-42C9-A8F8-B37DB91628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9836" y="1328591"/>
            <a:ext cx="5714776" cy="260452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6ADCAA-F33B-47E8-B07E-FF91CB48C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218" y="4767264"/>
            <a:ext cx="2895600" cy="273844"/>
          </a:xfrm>
        </p:spPr>
        <p:txBody>
          <a:bodyPr/>
          <a:lstStyle/>
          <a:p>
            <a:r>
              <a:rPr lang="en-GB" sz="800" dirty="0">
                <a:solidFill>
                  <a:srgbClr val="000000"/>
                </a:solidFill>
              </a:rPr>
              <a:t>Used by Leadership Team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93CF9A8-D62B-40DA-9F9D-EE15033A2A9D}"/>
              </a:ext>
            </a:extLst>
          </p:cNvPr>
          <p:cNvSpPr txBox="1">
            <a:spLocks/>
          </p:cNvSpPr>
          <p:nvPr/>
        </p:nvSpPr>
        <p:spPr>
          <a:xfrm>
            <a:off x="1384917" y="6321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1600" dirty="0"/>
              <a:t>Category performance tracker along with segment fragmentation gives an overview of market size and growth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E6214DB-89F6-4056-8D92-5AE17883E694}"/>
              </a:ext>
            </a:extLst>
          </p:cNvPr>
          <p:cNvSpPr/>
          <p:nvPr/>
        </p:nvSpPr>
        <p:spPr>
          <a:xfrm>
            <a:off x="161435" y="1465871"/>
            <a:ext cx="1676400" cy="2094747"/>
          </a:xfrm>
          <a:prstGeom prst="roundRect">
            <a:avLst>
              <a:gd name="adj" fmla="val 4414"/>
            </a:avLst>
          </a:prstGeom>
          <a:noFill/>
          <a:ln>
            <a:solidFill>
              <a:schemeClr val="bg2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342900" indent="-342900">
              <a:buFont typeface="+mj-lt"/>
              <a:buAutoNum type="arabicPeriod"/>
            </a:pPr>
            <a:endParaRPr lang="en-IN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Understand which markets are the largest markets in the category?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Which markets are growing the fastest?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How are the segments spread across markets?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Do we have the right portfolio in all markets?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E48C721-3A4C-4E12-B072-F182C5FE3FDF}"/>
              </a:ext>
            </a:extLst>
          </p:cNvPr>
          <p:cNvSpPr/>
          <p:nvPr/>
        </p:nvSpPr>
        <p:spPr>
          <a:xfrm>
            <a:off x="313835" y="1359853"/>
            <a:ext cx="1424609" cy="225287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00" dirty="0">
                <a:solidFill>
                  <a:schemeClr val="tx1"/>
                </a:solidFill>
              </a:rPr>
              <a:t>How might we?</a:t>
            </a:r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10" name="Graphic 9" descr="Help">
            <a:extLst>
              <a:ext uri="{FF2B5EF4-FFF2-40B4-BE49-F238E27FC236}">
                <a16:creationId xmlns:a16="http://schemas.microsoft.com/office/drawing/2014/main" id="{832F9A34-462D-41C2-98F1-A6C41F9C60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218" y="1359853"/>
            <a:ext cx="225288" cy="225288"/>
          </a:xfrm>
          <a:prstGeom prst="rect">
            <a:avLst/>
          </a:prstGeom>
        </p:spPr>
      </p:pic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7A893CCB-DA9B-495D-BCF2-42A5B96BDCFD}"/>
              </a:ext>
            </a:extLst>
          </p:cNvPr>
          <p:cNvSpPr/>
          <p:nvPr/>
        </p:nvSpPr>
        <p:spPr>
          <a:xfrm>
            <a:off x="3083773" y="884714"/>
            <a:ext cx="1213161" cy="280122"/>
          </a:xfrm>
          <a:prstGeom prst="wedgeRectCallout">
            <a:avLst>
              <a:gd name="adj1" fmla="val -2188"/>
              <a:gd name="adj2" fmla="val 208948"/>
            </a:avLst>
          </a:prstGeom>
          <a:solidFill>
            <a:schemeClr val="bg2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dirty="0">
                <a:solidFill>
                  <a:schemeClr val="tx1"/>
                </a:solidFill>
              </a:rPr>
              <a:t>UK is the largest market by catego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BF1DFED8-086B-415F-90BB-7F80D6D749F5}"/>
              </a:ext>
            </a:extLst>
          </p:cNvPr>
          <p:cNvSpPr/>
          <p:nvPr/>
        </p:nvSpPr>
        <p:spPr>
          <a:xfrm>
            <a:off x="6095543" y="840393"/>
            <a:ext cx="1620551" cy="280122"/>
          </a:xfrm>
          <a:prstGeom prst="wedgeRectCallout">
            <a:avLst>
              <a:gd name="adj1" fmla="val -37127"/>
              <a:gd name="adj2" fmla="val 228342"/>
            </a:avLst>
          </a:prstGeom>
          <a:solidFill>
            <a:schemeClr val="bg2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dirty="0">
                <a:solidFill>
                  <a:schemeClr val="tx1"/>
                </a:solidFill>
              </a:rPr>
              <a:t>Kingdom of Saudi Arabia is growing the faste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2B1C81CE-5E6D-4EC6-934F-2EAF73A32A4A}"/>
              </a:ext>
            </a:extLst>
          </p:cNvPr>
          <p:cNvSpPr/>
          <p:nvPr/>
        </p:nvSpPr>
        <p:spPr>
          <a:xfrm>
            <a:off x="6367782" y="4183338"/>
            <a:ext cx="1620551" cy="322685"/>
          </a:xfrm>
          <a:prstGeom prst="wedgeRectCallout">
            <a:avLst>
              <a:gd name="adj1" fmla="val 46555"/>
              <a:gd name="adj2" fmla="val -256844"/>
            </a:avLst>
          </a:prstGeom>
          <a:solidFill>
            <a:schemeClr val="bg1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dirty="0">
                <a:solidFill>
                  <a:schemeClr val="tx1"/>
                </a:solidFill>
              </a:rPr>
              <a:t>Sweden has major market for “Energy and Performance” seg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5" name="Speech Bubble: Rectangle 14">
            <a:extLst>
              <a:ext uri="{FF2B5EF4-FFF2-40B4-BE49-F238E27FC236}">
                <a16:creationId xmlns:a16="http://schemas.microsoft.com/office/drawing/2014/main" id="{D305D26B-8166-4F04-A48F-8198EE23D2B6}"/>
              </a:ext>
            </a:extLst>
          </p:cNvPr>
          <p:cNvSpPr/>
          <p:nvPr/>
        </p:nvSpPr>
        <p:spPr>
          <a:xfrm>
            <a:off x="3801443" y="4020901"/>
            <a:ext cx="1620551" cy="485122"/>
          </a:xfrm>
          <a:prstGeom prst="wedgeRectCallout">
            <a:avLst>
              <a:gd name="adj1" fmla="val 96143"/>
              <a:gd name="adj2" fmla="val -160775"/>
            </a:avLst>
          </a:prstGeom>
          <a:solidFill>
            <a:schemeClr val="bg1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dirty="0">
                <a:solidFill>
                  <a:schemeClr val="tx1"/>
                </a:solidFill>
              </a:rPr>
              <a:t>Italy’s biggest segment is “Cereal Bars” – Do we have the right portfolio available?</a:t>
            </a:r>
          </a:p>
          <a:p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EBCAF24-ADEB-4ED3-8FEB-1F18BE8AC309}"/>
              </a:ext>
            </a:extLst>
          </p:cNvPr>
          <p:cNvSpPr/>
          <p:nvPr/>
        </p:nvSpPr>
        <p:spPr>
          <a:xfrm>
            <a:off x="2919836" y="754801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1</a:t>
            </a:r>
            <a:endParaRPr lang="en-US" sz="120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779594B-9EB5-4A50-969D-4963D34F6BC6}"/>
              </a:ext>
            </a:extLst>
          </p:cNvPr>
          <p:cNvSpPr/>
          <p:nvPr/>
        </p:nvSpPr>
        <p:spPr>
          <a:xfrm>
            <a:off x="5927102" y="728139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2</a:t>
            </a:r>
            <a:endParaRPr lang="en-US" sz="12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8B46046-0663-4AC2-AE5C-8F4295346E1E}"/>
              </a:ext>
            </a:extLst>
          </p:cNvPr>
          <p:cNvSpPr/>
          <p:nvPr/>
        </p:nvSpPr>
        <p:spPr>
          <a:xfrm>
            <a:off x="3634476" y="3883292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4</a:t>
            </a:r>
            <a:endParaRPr lang="en-US" sz="1200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BE8AAC9-E621-4E84-BD2F-0655F12C9053}"/>
              </a:ext>
            </a:extLst>
          </p:cNvPr>
          <p:cNvSpPr/>
          <p:nvPr/>
        </p:nvSpPr>
        <p:spPr>
          <a:xfrm>
            <a:off x="6258975" y="4024499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3</a:t>
            </a:r>
            <a:endParaRPr lang="en-US" sz="1200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27EB651-1FD7-4468-B660-5E2B9BAC0BB9}"/>
              </a:ext>
            </a:extLst>
          </p:cNvPr>
          <p:cNvSpPr/>
          <p:nvPr/>
        </p:nvSpPr>
        <p:spPr>
          <a:xfrm>
            <a:off x="198402" y="1783003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1</a:t>
            </a:r>
            <a:endParaRPr lang="en-US" sz="1200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65F36D9-BFA6-41F2-8807-BD4BF97033E0}"/>
              </a:ext>
            </a:extLst>
          </p:cNvPr>
          <p:cNvSpPr/>
          <p:nvPr/>
        </p:nvSpPr>
        <p:spPr>
          <a:xfrm>
            <a:off x="187559" y="2324642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2</a:t>
            </a:r>
            <a:endParaRPr lang="en-US" sz="1200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0B07645-67E5-415F-A7C2-7FFEC5F9E82C}"/>
              </a:ext>
            </a:extLst>
          </p:cNvPr>
          <p:cNvSpPr/>
          <p:nvPr/>
        </p:nvSpPr>
        <p:spPr>
          <a:xfrm>
            <a:off x="183723" y="3144702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4</a:t>
            </a:r>
            <a:endParaRPr lang="en-US" sz="1200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B20D84F-7C56-4BD6-A0E2-81E9A8BEBF35}"/>
              </a:ext>
            </a:extLst>
          </p:cNvPr>
          <p:cNvSpPr/>
          <p:nvPr/>
        </p:nvSpPr>
        <p:spPr>
          <a:xfrm>
            <a:off x="187559" y="2750116"/>
            <a:ext cx="217613" cy="203178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3</a:t>
            </a:r>
            <a:endParaRPr lang="en-US" sz="1200" dirty="0"/>
          </a:p>
        </p:txBody>
      </p:sp>
      <p:pic>
        <p:nvPicPr>
          <p:cNvPr id="29" name="Graphic 28" descr="Circle with left arrow">
            <a:extLst>
              <a:ext uri="{FF2B5EF4-FFF2-40B4-BE49-F238E27FC236}">
                <a16:creationId xmlns:a16="http://schemas.microsoft.com/office/drawing/2014/main" id="{71C66605-F4A5-4C28-9BA8-834E1F143F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963417" y="2123948"/>
            <a:ext cx="626168" cy="626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4948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F6AD91C-8363-4C0C-9468-F72AC3C7E6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5461" y="3389995"/>
            <a:ext cx="3277104" cy="131982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4F284F2-9C50-4F90-93E5-81F46B5935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250" y="1516440"/>
            <a:ext cx="6365443" cy="2085848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6ADCAA-F33B-47E8-B07E-FF91CB48C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218" y="4767264"/>
            <a:ext cx="2895600" cy="273844"/>
          </a:xfrm>
        </p:spPr>
        <p:txBody>
          <a:bodyPr/>
          <a:lstStyle/>
          <a:p>
            <a:r>
              <a:rPr lang="en-GB" sz="800" dirty="0">
                <a:solidFill>
                  <a:srgbClr val="000000"/>
                </a:solidFill>
              </a:rPr>
              <a:t>Used by Leadership Team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93CF9A8-D62B-40DA-9F9D-EE15033A2A9D}"/>
              </a:ext>
            </a:extLst>
          </p:cNvPr>
          <p:cNvSpPr txBox="1">
            <a:spLocks/>
          </p:cNvSpPr>
          <p:nvPr/>
        </p:nvSpPr>
        <p:spPr>
          <a:xfrm>
            <a:off x="1384917" y="6321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1600" dirty="0"/>
              <a:t>Opportunity analyses aid in identifying the markets and segments of key interest based on consumption and competition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E6214DB-89F6-4056-8D92-5AE17883E694}"/>
              </a:ext>
            </a:extLst>
          </p:cNvPr>
          <p:cNvSpPr/>
          <p:nvPr/>
        </p:nvSpPr>
        <p:spPr>
          <a:xfrm>
            <a:off x="161435" y="1465871"/>
            <a:ext cx="1676400" cy="2220085"/>
          </a:xfrm>
          <a:prstGeom prst="roundRect">
            <a:avLst>
              <a:gd name="adj" fmla="val 4414"/>
            </a:avLst>
          </a:prstGeom>
          <a:noFill/>
          <a:ln>
            <a:solidFill>
              <a:schemeClr val="bg2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342900" indent="-342900">
              <a:buFont typeface="+mj-lt"/>
              <a:buAutoNum type="arabicPeriod"/>
            </a:pPr>
            <a:endParaRPr lang="en-IN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Identify key markets to focus on based on consumption and market growth rate?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In that specific market – which segments are the most important?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Which competitor brands are present in that segment and how am I performing with respect to them?</a:t>
            </a:r>
          </a:p>
          <a:p>
            <a:pPr marL="228600" indent="-228600">
              <a:buFont typeface="+mj-lt"/>
              <a:buAutoNum type="arabicPeriod"/>
            </a:pP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E48C721-3A4C-4E12-B072-F182C5FE3FDF}"/>
              </a:ext>
            </a:extLst>
          </p:cNvPr>
          <p:cNvSpPr/>
          <p:nvPr/>
        </p:nvSpPr>
        <p:spPr>
          <a:xfrm>
            <a:off x="313835" y="1359853"/>
            <a:ext cx="1424609" cy="225287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00" dirty="0">
                <a:solidFill>
                  <a:schemeClr val="tx1"/>
                </a:solidFill>
              </a:rPr>
              <a:t>How might we?</a:t>
            </a:r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10" name="Graphic 9" descr="Help">
            <a:extLst>
              <a:ext uri="{FF2B5EF4-FFF2-40B4-BE49-F238E27FC236}">
                <a16:creationId xmlns:a16="http://schemas.microsoft.com/office/drawing/2014/main" id="{832F9A34-462D-41C2-98F1-A6C41F9C60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0218" y="1359853"/>
            <a:ext cx="225288" cy="225288"/>
          </a:xfrm>
          <a:prstGeom prst="rect">
            <a:avLst/>
          </a:prstGeom>
        </p:spPr>
      </p:pic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7A893CCB-DA9B-495D-BCF2-42A5B96BDCFD}"/>
              </a:ext>
            </a:extLst>
          </p:cNvPr>
          <p:cNvSpPr/>
          <p:nvPr/>
        </p:nvSpPr>
        <p:spPr>
          <a:xfrm>
            <a:off x="3470557" y="1079731"/>
            <a:ext cx="1678612" cy="280122"/>
          </a:xfrm>
          <a:prstGeom prst="wedgeRectCallout">
            <a:avLst>
              <a:gd name="adj1" fmla="val 13287"/>
              <a:gd name="adj2" fmla="val 292477"/>
            </a:avLst>
          </a:prstGeom>
          <a:noFill/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dirty="0">
                <a:solidFill>
                  <a:schemeClr val="tx1"/>
                </a:solidFill>
              </a:rPr>
              <a:t>UK has a high consumption per person and a healthy growth rate </a:t>
            </a:r>
          </a:p>
        </p:txBody>
      </p:sp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BF1DFED8-086B-415F-90BB-7F80D6D749F5}"/>
              </a:ext>
            </a:extLst>
          </p:cNvPr>
          <p:cNvSpPr/>
          <p:nvPr/>
        </p:nvSpPr>
        <p:spPr>
          <a:xfrm>
            <a:off x="6710672" y="837593"/>
            <a:ext cx="1620551" cy="465771"/>
          </a:xfrm>
          <a:prstGeom prst="wedgeRectCallout">
            <a:avLst>
              <a:gd name="adj1" fmla="val 81141"/>
              <a:gd name="adj2" fmla="val 359844"/>
            </a:avLst>
          </a:prstGeom>
          <a:noFill/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dirty="0">
                <a:solidFill>
                  <a:schemeClr val="tx1"/>
                </a:solidFill>
              </a:rPr>
              <a:t>In France, “Fruit and Nut” is the fastest growing and doesn’t have a lot of brand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EBCAF24-ADEB-4ED3-8FEB-1F18BE8AC309}"/>
              </a:ext>
            </a:extLst>
          </p:cNvPr>
          <p:cNvSpPr/>
          <p:nvPr/>
        </p:nvSpPr>
        <p:spPr>
          <a:xfrm>
            <a:off x="3252944" y="914699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1</a:t>
            </a:r>
            <a:endParaRPr lang="en-US" sz="120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779594B-9EB5-4A50-969D-4963D34F6BC6}"/>
              </a:ext>
            </a:extLst>
          </p:cNvPr>
          <p:cNvSpPr/>
          <p:nvPr/>
        </p:nvSpPr>
        <p:spPr>
          <a:xfrm>
            <a:off x="6493059" y="720148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2</a:t>
            </a:r>
            <a:endParaRPr lang="en-US" sz="1200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27EB651-1FD7-4468-B660-5E2B9BAC0BB9}"/>
              </a:ext>
            </a:extLst>
          </p:cNvPr>
          <p:cNvSpPr/>
          <p:nvPr/>
        </p:nvSpPr>
        <p:spPr>
          <a:xfrm>
            <a:off x="198402" y="1783003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1</a:t>
            </a:r>
            <a:endParaRPr lang="en-US" sz="1200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65F36D9-BFA6-41F2-8807-BD4BF97033E0}"/>
              </a:ext>
            </a:extLst>
          </p:cNvPr>
          <p:cNvSpPr/>
          <p:nvPr/>
        </p:nvSpPr>
        <p:spPr>
          <a:xfrm>
            <a:off x="183723" y="2441941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2</a:t>
            </a:r>
            <a:endParaRPr lang="en-US" sz="1200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B20D84F-7C56-4BD6-A0E2-81E9A8BEBF35}"/>
              </a:ext>
            </a:extLst>
          </p:cNvPr>
          <p:cNvSpPr/>
          <p:nvPr/>
        </p:nvSpPr>
        <p:spPr>
          <a:xfrm>
            <a:off x="172880" y="3011944"/>
            <a:ext cx="217613" cy="203178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3</a:t>
            </a:r>
            <a:endParaRPr lang="en-US" sz="1200" dirty="0"/>
          </a:p>
        </p:txBody>
      </p:sp>
      <p:pic>
        <p:nvPicPr>
          <p:cNvPr id="27" name="Graphic 26" descr="Circle with left arrow">
            <a:extLst>
              <a:ext uri="{FF2B5EF4-FFF2-40B4-BE49-F238E27FC236}">
                <a16:creationId xmlns:a16="http://schemas.microsoft.com/office/drawing/2014/main" id="{B47D76B6-83CC-4FE3-8CC7-A9E2AF5FDB0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63417" y="2123948"/>
            <a:ext cx="626168" cy="626168"/>
          </a:xfrm>
          <a:prstGeom prst="rect">
            <a:avLst/>
          </a:prstGeom>
        </p:spPr>
      </p:pic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2B1C81CE-5E6D-4EC6-934F-2EAF73A32A4A}"/>
              </a:ext>
            </a:extLst>
          </p:cNvPr>
          <p:cNvSpPr/>
          <p:nvPr/>
        </p:nvSpPr>
        <p:spPr>
          <a:xfrm>
            <a:off x="3399850" y="4206595"/>
            <a:ext cx="1620551" cy="503220"/>
          </a:xfrm>
          <a:prstGeom prst="wedgeRectCallout">
            <a:avLst>
              <a:gd name="adj1" fmla="val 132190"/>
              <a:gd name="adj2" fmla="val -124410"/>
            </a:avLst>
          </a:prstGeom>
          <a:solidFill>
            <a:schemeClr val="bg1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IN" sz="800" dirty="0">
                <a:solidFill>
                  <a:schemeClr val="tx1"/>
                </a:solidFill>
              </a:rPr>
              <a:t>“</a:t>
            </a:r>
            <a:r>
              <a:rPr lang="en-US" sz="800" dirty="0">
                <a:solidFill>
                  <a:schemeClr val="tx1"/>
                </a:solidFill>
              </a:rPr>
              <a:t>Fruit and Nut” Segment is dominated by “NAKD Brand” – whereas KIND comes in at 3</a:t>
            </a:r>
            <a:r>
              <a:rPr lang="en-US" sz="800" baseline="30000" dirty="0">
                <a:solidFill>
                  <a:schemeClr val="tx1"/>
                </a:solidFill>
              </a:rPr>
              <a:t>rd</a:t>
            </a:r>
            <a:r>
              <a:rPr lang="en-US" sz="800" dirty="0">
                <a:solidFill>
                  <a:schemeClr val="tx1"/>
                </a:solidFill>
              </a:rPr>
              <a:t> place</a:t>
            </a:r>
          </a:p>
          <a:p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BE8AAC9-E621-4E84-BD2F-0655F12C9053}"/>
              </a:ext>
            </a:extLst>
          </p:cNvPr>
          <p:cNvSpPr/>
          <p:nvPr/>
        </p:nvSpPr>
        <p:spPr>
          <a:xfrm>
            <a:off x="3182237" y="4151791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3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7138001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6ADCAA-F33B-47E8-B07E-FF91CB48C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218" y="4767264"/>
            <a:ext cx="2895600" cy="273844"/>
          </a:xfrm>
        </p:spPr>
        <p:txBody>
          <a:bodyPr/>
          <a:lstStyle/>
          <a:p>
            <a:r>
              <a:rPr lang="en-GB" sz="800" dirty="0">
                <a:solidFill>
                  <a:srgbClr val="000000"/>
                </a:solidFill>
              </a:rPr>
              <a:t>Used by Market Team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E6214DB-89F6-4056-8D92-5AE17883E694}"/>
              </a:ext>
            </a:extLst>
          </p:cNvPr>
          <p:cNvSpPr/>
          <p:nvPr/>
        </p:nvSpPr>
        <p:spPr>
          <a:xfrm>
            <a:off x="161435" y="1465871"/>
            <a:ext cx="1676400" cy="2112139"/>
          </a:xfrm>
          <a:prstGeom prst="roundRect">
            <a:avLst>
              <a:gd name="adj" fmla="val 4414"/>
            </a:avLst>
          </a:prstGeom>
          <a:noFill/>
          <a:ln>
            <a:solidFill>
              <a:schemeClr val="bg2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342900" indent="-342900">
              <a:buFont typeface="+mj-lt"/>
              <a:buAutoNum type="arabicPeriod"/>
            </a:pPr>
            <a:endParaRPr lang="en-IN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Identify share of high and low performing SKUs in portfolio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GB" sz="900" dirty="0">
                <a:solidFill>
                  <a:schemeClr val="tx1"/>
                </a:solidFill>
              </a:rPr>
              <a:t>Understand which products need a higher distribution</a:t>
            </a:r>
          </a:p>
          <a:p>
            <a:pPr marL="228600" indent="-228600">
              <a:buFont typeface="+mj-lt"/>
              <a:buAutoNum type="arabicPeriod"/>
            </a:pP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Decide which SKUs need to have reduced distribution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Identify SKUs whose distribution needs to be maintained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E48C721-3A4C-4E12-B072-F182C5FE3FDF}"/>
              </a:ext>
            </a:extLst>
          </p:cNvPr>
          <p:cNvSpPr/>
          <p:nvPr/>
        </p:nvSpPr>
        <p:spPr>
          <a:xfrm>
            <a:off x="313835" y="1359853"/>
            <a:ext cx="1424609" cy="225287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00" dirty="0">
                <a:solidFill>
                  <a:schemeClr val="tx1"/>
                </a:solidFill>
              </a:rPr>
              <a:t>How might we?</a:t>
            </a:r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10" name="Graphic 9" descr="Help">
            <a:extLst>
              <a:ext uri="{FF2B5EF4-FFF2-40B4-BE49-F238E27FC236}">
                <a16:creationId xmlns:a16="http://schemas.microsoft.com/office/drawing/2014/main" id="{832F9A34-462D-41C2-98F1-A6C41F9C60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218" y="1359853"/>
            <a:ext cx="225288" cy="225288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827EB651-1FD7-4468-B660-5E2B9BAC0BB9}"/>
              </a:ext>
            </a:extLst>
          </p:cNvPr>
          <p:cNvSpPr/>
          <p:nvPr/>
        </p:nvSpPr>
        <p:spPr>
          <a:xfrm>
            <a:off x="181313" y="1789629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1</a:t>
            </a:r>
            <a:endParaRPr lang="en-US" sz="1200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65F36D9-BFA6-41F2-8807-BD4BF97033E0}"/>
              </a:ext>
            </a:extLst>
          </p:cNvPr>
          <p:cNvSpPr/>
          <p:nvPr/>
        </p:nvSpPr>
        <p:spPr>
          <a:xfrm>
            <a:off x="181313" y="2331268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2</a:t>
            </a:r>
            <a:endParaRPr lang="en-US" sz="1200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B20D84F-7C56-4BD6-A0E2-81E9A8BEBF35}"/>
              </a:ext>
            </a:extLst>
          </p:cNvPr>
          <p:cNvSpPr/>
          <p:nvPr/>
        </p:nvSpPr>
        <p:spPr>
          <a:xfrm>
            <a:off x="181313" y="2761281"/>
            <a:ext cx="217613" cy="203178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3</a:t>
            </a:r>
            <a:endParaRPr lang="en-US" sz="1200" dirty="0"/>
          </a:p>
        </p:txBody>
      </p:sp>
      <p:pic>
        <p:nvPicPr>
          <p:cNvPr id="29" name="Graphic 28" descr="Circle with left arrow">
            <a:extLst>
              <a:ext uri="{FF2B5EF4-FFF2-40B4-BE49-F238E27FC236}">
                <a16:creationId xmlns:a16="http://schemas.microsoft.com/office/drawing/2014/main" id="{71C66605-F4A5-4C28-9BA8-834E1F143F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34270" y="2148226"/>
            <a:ext cx="626168" cy="62616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9A2D80F-302C-4473-9847-4736201B24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34893" y="708218"/>
            <a:ext cx="6196313" cy="3301825"/>
          </a:xfrm>
          <a:prstGeom prst="rect">
            <a:avLst/>
          </a:prstGeom>
        </p:spPr>
      </p:pic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7A893CCB-DA9B-495D-BCF2-42A5B96BDCFD}"/>
              </a:ext>
            </a:extLst>
          </p:cNvPr>
          <p:cNvSpPr/>
          <p:nvPr/>
        </p:nvSpPr>
        <p:spPr>
          <a:xfrm>
            <a:off x="3972185" y="2431097"/>
            <a:ext cx="1199630" cy="653941"/>
          </a:xfrm>
          <a:prstGeom prst="wedgeRectCallout">
            <a:avLst>
              <a:gd name="adj1" fmla="val -50628"/>
              <a:gd name="adj2" fmla="val 94598"/>
            </a:avLst>
          </a:prstGeom>
          <a:solidFill>
            <a:schemeClr val="bg2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b="1" u="sng" dirty="0">
                <a:solidFill>
                  <a:schemeClr val="tx1"/>
                </a:solidFill>
              </a:rPr>
              <a:t>Sleeping beauties</a:t>
            </a:r>
          </a:p>
          <a:p>
            <a:endParaRPr lang="en-US" sz="800" b="1" u="sng" dirty="0">
              <a:solidFill>
                <a:schemeClr val="tx1"/>
              </a:solidFill>
            </a:endParaRPr>
          </a:p>
          <a:p>
            <a:r>
              <a:rPr lang="en-US" sz="800" dirty="0">
                <a:solidFill>
                  <a:schemeClr val="tx1"/>
                </a:solidFill>
              </a:rPr>
              <a:t>Increase distribution to drive the highest volume lift</a:t>
            </a:r>
          </a:p>
          <a:p>
            <a:endParaRPr lang="en-US" sz="800" b="1" u="sng" dirty="0">
              <a:solidFill>
                <a:schemeClr val="tx1"/>
              </a:solidFill>
            </a:endParaRPr>
          </a:p>
        </p:txBody>
      </p:sp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BF1DFED8-086B-415F-90BB-7F80D6D749F5}"/>
              </a:ext>
            </a:extLst>
          </p:cNvPr>
          <p:cNvSpPr/>
          <p:nvPr/>
        </p:nvSpPr>
        <p:spPr>
          <a:xfrm>
            <a:off x="5933050" y="2461310"/>
            <a:ext cx="845438" cy="586690"/>
          </a:xfrm>
          <a:prstGeom prst="wedgeRectCallout">
            <a:avLst>
              <a:gd name="adj1" fmla="val -38865"/>
              <a:gd name="adj2" fmla="val 72654"/>
            </a:avLst>
          </a:prstGeom>
          <a:solidFill>
            <a:schemeClr val="bg2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b="1" u="sng" dirty="0">
                <a:solidFill>
                  <a:schemeClr val="tx1"/>
                </a:solidFill>
              </a:rPr>
              <a:t>Blockbusters</a:t>
            </a:r>
            <a:br>
              <a:rPr lang="en-US" sz="800" b="1" u="sng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aintain current distribution to sustain sales</a:t>
            </a:r>
          </a:p>
        </p:txBody>
      </p:sp>
      <p:sp>
        <p:nvSpPr>
          <p:cNvPr id="15" name="Speech Bubble: Rectangle 14">
            <a:extLst>
              <a:ext uri="{FF2B5EF4-FFF2-40B4-BE49-F238E27FC236}">
                <a16:creationId xmlns:a16="http://schemas.microsoft.com/office/drawing/2014/main" id="{D305D26B-8166-4F04-A48F-8198EE23D2B6}"/>
              </a:ext>
            </a:extLst>
          </p:cNvPr>
          <p:cNvSpPr/>
          <p:nvPr/>
        </p:nvSpPr>
        <p:spPr>
          <a:xfrm>
            <a:off x="3055585" y="4081695"/>
            <a:ext cx="1620551" cy="586690"/>
          </a:xfrm>
          <a:prstGeom prst="wedgeRectCallout">
            <a:avLst>
              <a:gd name="adj1" fmla="val 1973"/>
              <a:gd name="adj2" fmla="val -139348"/>
            </a:avLst>
          </a:prstGeom>
          <a:solidFill>
            <a:schemeClr val="bg1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b="1" u="sng" dirty="0">
                <a:solidFill>
                  <a:schemeClr val="tx1"/>
                </a:solidFill>
              </a:rPr>
              <a:t>Lame Duck SKUs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se SKUs have a lot of potential – </a:t>
            </a:r>
            <a:r>
              <a:rPr lang="en-US" sz="800" b="1" dirty="0">
                <a:solidFill>
                  <a:schemeClr val="tx1"/>
                </a:solidFill>
              </a:rPr>
              <a:t>might see</a:t>
            </a:r>
            <a:r>
              <a:rPr lang="en-US" sz="800" dirty="0">
                <a:solidFill>
                  <a:schemeClr val="tx1"/>
                </a:solidFill>
              </a:rPr>
              <a:t> increased sales if distribution is increased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779594B-9EB5-4A50-969D-4963D34F6BC6}"/>
              </a:ext>
            </a:extLst>
          </p:cNvPr>
          <p:cNvSpPr/>
          <p:nvPr/>
        </p:nvSpPr>
        <p:spPr>
          <a:xfrm>
            <a:off x="2909551" y="3946048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2</a:t>
            </a:r>
            <a:endParaRPr lang="en-US" sz="1200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BE3F5C48-736B-4EDC-823E-DDA91C922AA3}"/>
              </a:ext>
            </a:extLst>
          </p:cNvPr>
          <p:cNvSpPr txBox="1">
            <a:spLocks/>
          </p:cNvSpPr>
          <p:nvPr/>
        </p:nvSpPr>
        <p:spPr>
          <a:xfrm>
            <a:off x="1384917" y="6321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1600" dirty="0"/>
              <a:t>Product Quadrant Analysis helps in gauging portfolio performance and aids in portfolio management </a:t>
            </a:r>
            <a:r>
              <a:rPr lang="en-US" sz="1600"/>
              <a:t>by identifying </a:t>
            </a:r>
            <a:r>
              <a:rPr lang="en-US" sz="1600" dirty="0"/>
              <a:t>the right set of products</a:t>
            </a:r>
          </a:p>
        </p:txBody>
      </p:sp>
      <p:sp>
        <p:nvSpPr>
          <p:cNvPr id="27" name="Speech Bubble: Rectangle 26">
            <a:extLst>
              <a:ext uri="{FF2B5EF4-FFF2-40B4-BE49-F238E27FC236}">
                <a16:creationId xmlns:a16="http://schemas.microsoft.com/office/drawing/2014/main" id="{54A6E14E-031A-46C2-93FA-D829E7557F7E}"/>
              </a:ext>
            </a:extLst>
          </p:cNvPr>
          <p:cNvSpPr/>
          <p:nvPr/>
        </p:nvSpPr>
        <p:spPr>
          <a:xfrm>
            <a:off x="5805004" y="4010043"/>
            <a:ext cx="1287059" cy="586690"/>
          </a:xfrm>
          <a:prstGeom prst="wedgeRectCallout">
            <a:avLst>
              <a:gd name="adj1" fmla="val -72097"/>
              <a:gd name="adj2" fmla="val -122281"/>
            </a:avLst>
          </a:prstGeom>
          <a:solidFill>
            <a:schemeClr val="bg2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b="1" u="sng" dirty="0">
                <a:solidFill>
                  <a:schemeClr val="tx1"/>
                </a:solidFill>
              </a:rPr>
              <a:t>Weakening Core SKUs </a:t>
            </a:r>
          </a:p>
          <a:p>
            <a:r>
              <a:rPr lang="en-US" sz="800" dirty="0">
                <a:solidFill>
                  <a:schemeClr val="tx1"/>
                </a:solidFill>
              </a:rPr>
              <a:t>Aim to reduce distribution since they don’t sell well even with high distribution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09E6C873-A858-4E95-B12E-A2450FCD9D18}"/>
              </a:ext>
            </a:extLst>
          </p:cNvPr>
          <p:cNvSpPr/>
          <p:nvPr/>
        </p:nvSpPr>
        <p:spPr>
          <a:xfrm>
            <a:off x="5658970" y="3906013"/>
            <a:ext cx="217613" cy="203178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3</a:t>
            </a:r>
            <a:endParaRPr lang="en-US" sz="1200" dirty="0"/>
          </a:p>
        </p:txBody>
      </p:sp>
      <p:sp>
        <p:nvSpPr>
          <p:cNvPr id="31" name="Speech Bubble: Rectangle 30">
            <a:extLst>
              <a:ext uri="{FF2B5EF4-FFF2-40B4-BE49-F238E27FC236}">
                <a16:creationId xmlns:a16="http://schemas.microsoft.com/office/drawing/2014/main" id="{14915D28-A9EA-4F8D-A9E9-3DC2FD482673}"/>
              </a:ext>
            </a:extLst>
          </p:cNvPr>
          <p:cNvSpPr/>
          <p:nvPr/>
        </p:nvSpPr>
        <p:spPr>
          <a:xfrm>
            <a:off x="4207565" y="680722"/>
            <a:ext cx="775252" cy="452735"/>
          </a:xfrm>
          <a:prstGeom prst="wedgeRectCallout">
            <a:avLst>
              <a:gd name="adj1" fmla="val 74625"/>
              <a:gd name="adj2" fmla="val 120625"/>
            </a:avLst>
          </a:prstGeom>
          <a:solidFill>
            <a:schemeClr val="bg2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IN" sz="800" dirty="0">
                <a:solidFill>
                  <a:schemeClr val="tx1"/>
                </a:solidFill>
              </a:rPr>
              <a:t>72% of portfolio are block busters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EBCAF24-ADEB-4ED3-8FEB-1F18BE8AC309}"/>
              </a:ext>
            </a:extLst>
          </p:cNvPr>
          <p:cNvSpPr/>
          <p:nvPr/>
        </p:nvSpPr>
        <p:spPr>
          <a:xfrm>
            <a:off x="4041653" y="554721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1</a:t>
            </a:r>
            <a:endParaRPr lang="en-US" sz="1200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406A8BC7-1402-4C4E-B4B7-6353EE5F2E07}"/>
              </a:ext>
            </a:extLst>
          </p:cNvPr>
          <p:cNvSpPr/>
          <p:nvPr/>
        </p:nvSpPr>
        <p:spPr>
          <a:xfrm>
            <a:off x="3807320" y="2283018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2</a:t>
            </a:r>
            <a:endParaRPr lang="en-US" sz="1200" dirty="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D790C808-FB4E-4012-A4C9-EF8BD5920DAA}"/>
              </a:ext>
            </a:extLst>
          </p:cNvPr>
          <p:cNvSpPr/>
          <p:nvPr/>
        </p:nvSpPr>
        <p:spPr>
          <a:xfrm>
            <a:off x="181313" y="3144703"/>
            <a:ext cx="217613" cy="203178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4</a:t>
            </a:r>
            <a:endParaRPr lang="en-US" sz="1200" dirty="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FDA269A-D7BE-428D-9B4C-0402C89F7E1D}"/>
              </a:ext>
            </a:extLst>
          </p:cNvPr>
          <p:cNvSpPr/>
          <p:nvPr/>
        </p:nvSpPr>
        <p:spPr>
          <a:xfrm>
            <a:off x="5787016" y="2341932"/>
            <a:ext cx="217613" cy="203178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4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5496312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6ADCAA-F33B-47E8-B07E-FF91CB48C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218" y="4767264"/>
            <a:ext cx="2895600" cy="273844"/>
          </a:xfrm>
        </p:spPr>
        <p:txBody>
          <a:bodyPr/>
          <a:lstStyle/>
          <a:p>
            <a:r>
              <a:rPr lang="en-GB" sz="800" dirty="0">
                <a:solidFill>
                  <a:srgbClr val="000000"/>
                </a:solidFill>
              </a:rPr>
              <a:t>Used by Market Team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93CF9A8-D62B-40DA-9F9D-EE15033A2A9D}"/>
              </a:ext>
            </a:extLst>
          </p:cNvPr>
          <p:cNvSpPr txBox="1">
            <a:spLocks/>
          </p:cNvSpPr>
          <p:nvPr/>
        </p:nvSpPr>
        <p:spPr>
          <a:xfrm>
            <a:off x="1384917" y="6321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1600" dirty="0"/>
              <a:t>Pricing analyses help in understanding the pricing landscape of a market and identifying hit price points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E6214DB-89F6-4056-8D92-5AE17883E694}"/>
              </a:ext>
            </a:extLst>
          </p:cNvPr>
          <p:cNvSpPr/>
          <p:nvPr/>
        </p:nvSpPr>
        <p:spPr>
          <a:xfrm>
            <a:off x="161435" y="1143186"/>
            <a:ext cx="1676400" cy="2335510"/>
          </a:xfrm>
          <a:prstGeom prst="roundRect">
            <a:avLst>
              <a:gd name="adj" fmla="val 4414"/>
            </a:avLst>
          </a:prstGeom>
          <a:noFill/>
          <a:ln>
            <a:solidFill>
              <a:schemeClr val="bg2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342900" indent="-342900">
              <a:buFont typeface="+mj-lt"/>
              <a:buAutoNum type="arabicPeriod"/>
            </a:pPr>
            <a:endParaRPr lang="en-IN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Which is the biggest price segment within a country?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To identify the key competitor brands present within the price segment and their share?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To identify hit price points within each price segment and to decide if KIND needs to be closer to that price range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E48C721-3A4C-4E12-B072-F182C5FE3FDF}"/>
              </a:ext>
            </a:extLst>
          </p:cNvPr>
          <p:cNvSpPr/>
          <p:nvPr/>
        </p:nvSpPr>
        <p:spPr>
          <a:xfrm>
            <a:off x="313835" y="1037168"/>
            <a:ext cx="1424609" cy="225287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00" dirty="0">
                <a:solidFill>
                  <a:schemeClr val="tx1"/>
                </a:solidFill>
              </a:rPr>
              <a:t>How might we?</a:t>
            </a:r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10" name="Graphic 9" descr="Help">
            <a:extLst>
              <a:ext uri="{FF2B5EF4-FFF2-40B4-BE49-F238E27FC236}">
                <a16:creationId xmlns:a16="http://schemas.microsoft.com/office/drawing/2014/main" id="{832F9A34-462D-41C2-98F1-A6C41F9C60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218" y="1037168"/>
            <a:ext cx="225288" cy="225288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827EB651-1FD7-4468-B660-5E2B9BAC0BB9}"/>
              </a:ext>
            </a:extLst>
          </p:cNvPr>
          <p:cNvSpPr/>
          <p:nvPr/>
        </p:nvSpPr>
        <p:spPr>
          <a:xfrm>
            <a:off x="188541" y="1460318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1</a:t>
            </a:r>
            <a:endParaRPr lang="en-US" sz="1200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65F36D9-BFA6-41F2-8807-BD4BF97033E0}"/>
              </a:ext>
            </a:extLst>
          </p:cNvPr>
          <p:cNvSpPr/>
          <p:nvPr/>
        </p:nvSpPr>
        <p:spPr>
          <a:xfrm>
            <a:off x="177096" y="1980262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2</a:t>
            </a:r>
            <a:endParaRPr lang="en-US" sz="1200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B20D84F-7C56-4BD6-A0E2-81E9A8BEBF35}"/>
              </a:ext>
            </a:extLst>
          </p:cNvPr>
          <p:cNvSpPr/>
          <p:nvPr/>
        </p:nvSpPr>
        <p:spPr>
          <a:xfrm>
            <a:off x="177096" y="2683269"/>
            <a:ext cx="217613" cy="203178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3</a:t>
            </a:r>
            <a:endParaRPr lang="en-US" sz="1200" dirty="0"/>
          </a:p>
        </p:txBody>
      </p:sp>
      <p:pic>
        <p:nvPicPr>
          <p:cNvPr id="29" name="Graphic 28" descr="Circle with left arrow">
            <a:extLst>
              <a:ext uri="{FF2B5EF4-FFF2-40B4-BE49-F238E27FC236}">
                <a16:creationId xmlns:a16="http://schemas.microsoft.com/office/drawing/2014/main" id="{71C66605-F4A5-4C28-9BA8-834E1F143F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34270" y="2148226"/>
            <a:ext cx="626168" cy="62616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6B8D831-7F41-494E-9A22-065FE961053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203" t="14158" r="14927" b="3252"/>
          <a:stretch/>
        </p:blipFill>
        <p:spPr>
          <a:xfrm>
            <a:off x="3485321" y="1262455"/>
            <a:ext cx="4406348" cy="2888503"/>
          </a:xfrm>
          <a:prstGeom prst="rect">
            <a:avLst/>
          </a:prstGeom>
        </p:spPr>
      </p:pic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7A893CCB-DA9B-495D-BCF2-42A5B96BDCFD}"/>
              </a:ext>
            </a:extLst>
          </p:cNvPr>
          <p:cNvSpPr/>
          <p:nvPr/>
        </p:nvSpPr>
        <p:spPr>
          <a:xfrm>
            <a:off x="4047642" y="645291"/>
            <a:ext cx="1511335" cy="535785"/>
          </a:xfrm>
          <a:prstGeom prst="wedgeRectCallout">
            <a:avLst>
              <a:gd name="adj1" fmla="val 53652"/>
              <a:gd name="adj2" fmla="val 159695"/>
            </a:avLst>
          </a:prstGeom>
          <a:solidFill>
            <a:schemeClr val="bg2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dirty="0">
                <a:solidFill>
                  <a:schemeClr val="tx1"/>
                </a:solidFill>
              </a:rPr>
              <a:t>In Switzerland, “Medium” segment is biggest – with KIND being present majorly in that segment</a:t>
            </a:r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2B1C81CE-5E6D-4EC6-934F-2EAF73A32A4A}"/>
              </a:ext>
            </a:extLst>
          </p:cNvPr>
          <p:cNvSpPr/>
          <p:nvPr/>
        </p:nvSpPr>
        <p:spPr>
          <a:xfrm>
            <a:off x="6804726" y="4246184"/>
            <a:ext cx="1620551" cy="322685"/>
          </a:xfrm>
          <a:prstGeom prst="wedgeRectCallout">
            <a:avLst>
              <a:gd name="adj1" fmla="val -106212"/>
              <a:gd name="adj2" fmla="val -189979"/>
            </a:avLst>
          </a:prstGeom>
          <a:solidFill>
            <a:schemeClr val="bg1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dirty="0">
                <a:solidFill>
                  <a:schemeClr val="tx1"/>
                </a:solidFill>
              </a:rPr>
              <a:t>KIND is performing well compared to most bran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5" name="Speech Bubble: Rectangle 14">
            <a:extLst>
              <a:ext uri="{FF2B5EF4-FFF2-40B4-BE49-F238E27FC236}">
                <a16:creationId xmlns:a16="http://schemas.microsoft.com/office/drawing/2014/main" id="{D305D26B-8166-4F04-A48F-8198EE23D2B6}"/>
              </a:ext>
            </a:extLst>
          </p:cNvPr>
          <p:cNvSpPr/>
          <p:nvPr/>
        </p:nvSpPr>
        <p:spPr>
          <a:xfrm>
            <a:off x="3996996" y="4246185"/>
            <a:ext cx="1620551" cy="322685"/>
          </a:xfrm>
          <a:prstGeom prst="wedgeRectCallout">
            <a:avLst>
              <a:gd name="adj1" fmla="val 26097"/>
              <a:gd name="adj2" fmla="val -116193"/>
            </a:avLst>
          </a:prstGeom>
          <a:solidFill>
            <a:schemeClr val="bg1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dirty="0">
                <a:solidFill>
                  <a:schemeClr val="tx1"/>
                </a:solidFill>
              </a:rPr>
              <a:t>CHF1.89 and CHF 1.99 are the hit price point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EBCAF24-ADEB-4ED3-8FEB-1F18BE8AC309}"/>
              </a:ext>
            </a:extLst>
          </p:cNvPr>
          <p:cNvSpPr/>
          <p:nvPr/>
        </p:nvSpPr>
        <p:spPr>
          <a:xfrm>
            <a:off x="3888189" y="533037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1</a:t>
            </a:r>
            <a:endParaRPr lang="en-US" sz="12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8B46046-0663-4AC2-AE5C-8F4295346E1E}"/>
              </a:ext>
            </a:extLst>
          </p:cNvPr>
          <p:cNvSpPr/>
          <p:nvPr/>
        </p:nvSpPr>
        <p:spPr>
          <a:xfrm>
            <a:off x="3861835" y="4137529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4</a:t>
            </a:r>
            <a:endParaRPr lang="en-US" sz="1200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BE8AAC9-E621-4E84-BD2F-0655F12C9053}"/>
              </a:ext>
            </a:extLst>
          </p:cNvPr>
          <p:cNvSpPr/>
          <p:nvPr/>
        </p:nvSpPr>
        <p:spPr>
          <a:xfrm>
            <a:off x="6454528" y="4249783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3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114977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5E01270-B360-4A81-83CC-8AF85FD0EB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7628" y="1369950"/>
            <a:ext cx="5960111" cy="245002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6ADCAA-F33B-47E8-B07E-FF91CB48C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218" y="4767264"/>
            <a:ext cx="2895600" cy="273844"/>
          </a:xfrm>
        </p:spPr>
        <p:txBody>
          <a:bodyPr/>
          <a:lstStyle/>
          <a:p>
            <a:r>
              <a:rPr lang="en-GB" sz="800" dirty="0">
                <a:solidFill>
                  <a:srgbClr val="000000"/>
                </a:solidFill>
              </a:rPr>
              <a:t>Used by Market Team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93CF9A8-D62B-40DA-9F9D-EE15033A2A9D}"/>
              </a:ext>
            </a:extLst>
          </p:cNvPr>
          <p:cNvSpPr txBox="1">
            <a:spLocks/>
          </p:cNvSpPr>
          <p:nvPr/>
        </p:nvSpPr>
        <p:spPr>
          <a:xfrm>
            <a:off x="1384917" y="6321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1600" dirty="0"/>
              <a:t>Channel analysis helps to understand total category and brand sales distribution by channel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E6214DB-89F6-4056-8D92-5AE17883E694}"/>
              </a:ext>
            </a:extLst>
          </p:cNvPr>
          <p:cNvSpPr/>
          <p:nvPr/>
        </p:nvSpPr>
        <p:spPr>
          <a:xfrm>
            <a:off x="210565" y="1123166"/>
            <a:ext cx="1676400" cy="2335510"/>
          </a:xfrm>
          <a:prstGeom prst="roundRect">
            <a:avLst>
              <a:gd name="adj" fmla="val 4414"/>
            </a:avLst>
          </a:prstGeom>
          <a:noFill/>
          <a:ln>
            <a:solidFill>
              <a:schemeClr val="bg2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342900" indent="-342900">
              <a:buFont typeface="+mj-lt"/>
              <a:buAutoNum type="arabicPeriod"/>
            </a:pPr>
            <a:endParaRPr lang="en-IN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Which is channel contributes most to the total category sales?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To identify which are the key channel driving the sales of the brand?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900" dirty="0">
                <a:solidFill>
                  <a:schemeClr val="tx1"/>
                </a:solidFill>
              </a:rPr>
              <a:t>To gauge the rate of sale and cumulative distribution across channel?</a:t>
            </a:r>
            <a:br>
              <a:rPr lang="en-US" sz="900" dirty="0">
                <a:solidFill>
                  <a:schemeClr val="tx1"/>
                </a:solidFill>
              </a:rPr>
            </a:b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endParaRPr lang="en-US" sz="9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</a:pP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E48C721-3A4C-4E12-B072-F182C5FE3FDF}"/>
              </a:ext>
            </a:extLst>
          </p:cNvPr>
          <p:cNvSpPr/>
          <p:nvPr/>
        </p:nvSpPr>
        <p:spPr>
          <a:xfrm>
            <a:off x="313835" y="1037168"/>
            <a:ext cx="1424609" cy="225287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00" dirty="0">
                <a:solidFill>
                  <a:schemeClr val="tx1"/>
                </a:solidFill>
              </a:rPr>
              <a:t>How might we?</a:t>
            </a:r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10" name="Graphic 9" descr="Help">
            <a:extLst>
              <a:ext uri="{FF2B5EF4-FFF2-40B4-BE49-F238E27FC236}">
                <a16:creationId xmlns:a16="http://schemas.microsoft.com/office/drawing/2014/main" id="{832F9A34-462D-41C2-98F1-A6C41F9C60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218" y="1037168"/>
            <a:ext cx="225288" cy="225288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827EB651-1FD7-4468-B660-5E2B9BAC0BB9}"/>
              </a:ext>
            </a:extLst>
          </p:cNvPr>
          <p:cNvSpPr/>
          <p:nvPr/>
        </p:nvSpPr>
        <p:spPr>
          <a:xfrm>
            <a:off x="188541" y="1460318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1</a:t>
            </a:r>
            <a:endParaRPr lang="en-US" sz="1200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65F36D9-BFA6-41F2-8807-BD4BF97033E0}"/>
              </a:ext>
            </a:extLst>
          </p:cNvPr>
          <p:cNvSpPr/>
          <p:nvPr/>
        </p:nvSpPr>
        <p:spPr>
          <a:xfrm>
            <a:off x="169001" y="2114611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2</a:t>
            </a:r>
            <a:endParaRPr lang="en-US" sz="1200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B20D84F-7C56-4BD6-A0E2-81E9A8BEBF35}"/>
              </a:ext>
            </a:extLst>
          </p:cNvPr>
          <p:cNvSpPr/>
          <p:nvPr/>
        </p:nvSpPr>
        <p:spPr>
          <a:xfrm>
            <a:off x="177096" y="2683269"/>
            <a:ext cx="217613" cy="203178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3</a:t>
            </a:r>
            <a:endParaRPr lang="en-US" sz="1200" dirty="0"/>
          </a:p>
        </p:txBody>
      </p:sp>
      <p:pic>
        <p:nvPicPr>
          <p:cNvPr id="29" name="Graphic 28" descr="Circle with left arrow">
            <a:extLst>
              <a:ext uri="{FF2B5EF4-FFF2-40B4-BE49-F238E27FC236}">
                <a16:creationId xmlns:a16="http://schemas.microsoft.com/office/drawing/2014/main" id="{71C66605-F4A5-4C28-9BA8-834E1F143F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134270" y="2148226"/>
            <a:ext cx="626168" cy="626168"/>
          </a:xfrm>
          <a:prstGeom prst="rect">
            <a:avLst/>
          </a:prstGeom>
        </p:spPr>
      </p:pic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7A893CCB-DA9B-495D-BCF2-42A5B96BDCFD}"/>
              </a:ext>
            </a:extLst>
          </p:cNvPr>
          <p:cNvSpPr/>
          <p:nvPr/>
        </p:nvSpPr>
        <p:spPr>
          <a:xfrm>
            <a:off x="7004751" y="647061"/>
            <a:ext cx="1511335" cy="405333"/>
          </a:xfrm>
          <a:prstGeom prst="wedgeRectCallout">
            <a:avLst>
              <a:gd name="adj1" fmla="val -31431"/>
              <a:gd name="adj2" fmla="val 305820"/>
            </a:avLst>
          </a:prstGeom>
          <a:solidFill>
            <a:schemeClr val="bg2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dirty="0">
                <a:solidFill>
                  <a:schemeClr val="tx1"/>
                </a:solidFill>
              </a:rPr>
              <a:t>The rate of sale for KIND is maximum in hypermarkets </a:t>
            </a:r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2B1C81CE-5E6D-4EC6-934F-2EAF73A32A4A}"/>
              </a:ext>
            </a:extLst>
          </p:cNvPr>
          <p:cNvSpPr/>
          <p:nvPr/>
        </p:nvSpPr>
        <p:spPr>
          <a:xfrm>
            <a:off x="6804726" y="4246184"/>
            <a:ext cx="1620551" cy="440116"/>
          </a:xfrm>
          <a:prstGeom prst="wedgeRectCallout">
            <a:avLst>
              <a:gd name="adj1" fmla="val -109739"/>
              <a:gd name="adj2" fmla="val -180839"/>
            </a:avLst>
          </a:prstGeom>
          <a:solidFill>
            <a:schemeClr val="bg1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dirty="0">
                <a:solidFill>
                  <a:schemeClr val="tx1"/>
                </a:solidFill>
              </a:rPr>
              <a:t> KIND share of sales is almost equally distributed between hypermarkets and supermarkets</a:t>
            </a:r>
          </a:p>
        </p:txBody>
      </p:sp>
      <p:sp>
        <p:nvSpPr>
          <p:cNvPr id="15" name="Speech Bubble: Rectangle 14">
            <a:extLst>
              <a:ext uri="{FF2B5EF4-FFF2-40B4-BE49-F238E27FC236}">
                <a16:creationId xmlns:a16="http://schemas.microsoft.com/office/drawing/2014/main" id="{D305D26B-8166-4F04-A48F-8198EE23D2B6}"/>
              </a:ext>
            </a:extLst>
          </p:cNvPr>
          <p:cNvSpPr/>
          <p:nvPr/>
        </p:nvSpPr>
        <p:spPr>
          <a:xfrm>
            <a:off x="1950162" y="3951628"/>
            <a:ext cx="1620551" cy="322685"/>
          </a:xfrm>
          <a:prstGeom prst="wedgeRectCallout">
            <a:avLst>
              <a:gd name="adj1" fmla="val 63714"/>
              <a:gd name="adj2" fmla="val -178181"/>
            </a:avLst>
          </a:prstGeom>
          <a:solidFill>
            <a:schemeClr val="bg1"/>
          </a:solidFill>
          <a:ln w="9525"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r>
              <a:rPr lang="en-US" sz="800" dirty="0">
                <a:solidFill>
                  <a:schemeClr val="tx1"/>
                </a:solidFill>
              </a:rPr>
              <a:t>In Italy the supermarkets has the largest sales contribution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EBCAF24-ADEB-4ED3-8FEB-1F18BE8AC309}"/>
              </a:ext>
            </a:extLst>
          </p:cNvPr>
          <p:cNvSpPr/>
          <p:nvPr/>
        </p:nvSpPr>
        <p:spPr>
          <a:xfrm>
            <a:off x="6787138" y="641610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3</a:t>
            </a:r>
            <a:endParaRPr lang="en-US" sz="12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8B46046-0663-4AC2-AE5C-8F4295346E1E}"/>
              </a:ext>
            </a:extLst>
          </p:cNvPr>
          <p:cNvSpPr/>
          <p:nvPr/>
        </p:nvSpPr>
        <p:spPr>
          <a:xfrm>
            <a:off x="1732549" y="3888463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BE8AAC9-E621-4E84-BD2F-0655F12C9053}"/>
              </a:ext>
            </a:extLst>
          </p:cNvPr>
          <p:cNvSpPr/>
          <p:nvPr/>
        </p:nvSpPr>
        <p:spPr>
          <a:xfrm>
            <a:off x="6569525" y="4249782"/>
            <a:ext cx="217613" cy="224507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2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4107551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7_Mars_Template_WaterMark_Internal 2012-080712-CCv2">
  <a:themeElements>
    <a:clrScheme name="Custom 26">
      <a:dk1>
        <a:srgbClr val="000000"/>
      </a:dk1>
      <a:lt1>
        <a:srgbClr val="FFFFFF"/>
      </a:lt1>
      <a:dk2>
        <a:srgbClr val="BED700"/>
      </a:dk2>
      <a:lt2>
        <a:srgbClr val="C81E2D"/>
      </a:lt2>
      <a:accent1>
        <a:srgbClr val="002C5C"/>
      </a:accent1>
      <a:accent2>
        <a:srgbClr val="00AAE6"/>
      </a:accent2>
      <a:accent3>
        <a:srgbClr val="5A1E64"/>
      </a:accent3>
      <a:accent4>
        <a:srgbClr val="C80082"/>
      </a:accent4>
      <a:accent5>
        <a:srgbClr val="69AF28"/>
      </a:accent5>
      <a:accent6>
        <a:srgbClr val="FF6E00"/>
      </a:accent6>
      <a:hlink>
        <a:srgbClr val="000000"/>
      </a:hlink>
      <a:folHlink>
        <a:srgbClr val="249CCC"/>
      </a:folHlink>
    </a:clrScheme>
    <a:fontScheme name="Mars Inc.">
      <a:majorFont>
        <a:latin typeface="Marsfont"/>
        <a:ea typeface=""/>
        <a:cs typeface=""/>
      </a:majorFont>
      <a:minorFont>
        <a:latin typeface="Marsfont"/>
        <a:ea typeface=""/>
        <a:cs typeface="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>
    <a:spDef>
      <a:spPr/>
      <a:bodyPr wrap="square">
        <a:spAutoFit/>
      </a:bodyPr>
      <a:lstStyle>
        <a:defPPr algn="ctr">
          <a:lnSpc>
            <a:spcPct val="80000"/>
          </a:lnSpc>
          <a:defRPr dirty="0">
            <a:latin typeface="Calibri" panose="020F0502020204030204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NEW MINC 16x9 template_final.pptx" id="{2BAF0608-E3E6-42FB-A8A4-8DB3AD7B7C3C}" vid="{96392448-FAD1-4ADA-ACB5-90C65B449108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2_Mars_Template_WaterMark_Internal 2012-080712-CCv2">
  <a:themeElements>
    <a:clrScheme name="Custom 26">
      <a:dk1>
        <a:srgbClr val="000000"/>
      </a:dk1>
      <a:lt1>
        <a:srgbClr val="FFFFFF"/>
      </a:lt1>
      <a:dk2>
        <a:srgbClr val="BED700"/>
      </a:dk2>
      <a:lt2>
        <a:srgbClr val="C81E2D"/>
      </a:lt2>
      <a:accent1>
        <a:srgbClr val="002C5C"/>
      </a:accent1>
      <a:accent2>
        <a:srgbClr val="00AAE6"/>
      </a:accent2>
      <a:accent3>
        <a:srgbClr val="5A1E64"/>
      </a:accent3>
      <a:accent4>
        <a:srgbClr val="C80082"/>
      </a:accent4>
      <a:accent5>
        <a:srgbClr val="69AF28"/>
      </a:accent5>
      <a:accent6>
        <a:srgbClr val="FF6E00"/>
      </a:accent6>
      <a:hlink>
        <a:srgbClr val="000000"/>
      </a:hlink>
      <a:folHlink>
        <a:srgbClr val="249CCC"/>
      </a:folHlink>
    </a:clrScheme>
    <a:fontScheme name="Mars Inc.">
      <a:majorFont>
        <a:latin typeface="Marsfont"/>
        <a:ea typeface=""/>
        <a:cs typeface=""/>
      </a:majorFont>
      <a:minorFont>
        <a:latin typeface="Marsfont"/>
        <a:ea typeface=""/>
        <a:cs typeface="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>
    <a:spDef>
      <a:spPr/>
      <a:bodyPr wrap="square">
        <a:spAutoFit/>
      </a:bodyPr>
      <a:lstStyle>
        <a:defPPr algn="ctr">
          <a:lnSpc>
            <a:spcPct val="80000"/>
          </a:lnSpc>
          <a:defRPr dirty="0">
            <a:latin typeface="Calibri" panose="020F0502020204030204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NEW MINC 16x9 template_final.pptx" id="{2BAF0608-E3E6-42FB-A8A4-8DB3AD7B7C3C}" vid="{641902DF-5612-4B78-8320-12612C75F0AF}"/>
    </a:ext>
  </a:extLst>
</a:theme>
</file>

<file path=ppt/theme/theme3.xml><?xml version="1.0" encoding="utf-8"?>
<a:theme xmlns:a="http://schemas.openxmlformats.org/drawingml/2006/main" name="10_Mars_Template_WaterMark_Internal 2012-080712-CCv2">
  <a:themeElements>
    <a:clrScheme name="Custom 26">
      <a:dk1>
        <a:srgbClr val="000000"/>
      </a:dk1>
      <a:lt1>
        <a:srgbClr val="FFFFFF"/>
      </a:lt1>
      <a:dk2>
        <a:srgbClr val="BED700"/>
      </a:dk2>
      <a:lt2>
        <a:srgbClr val="C81E2D"/>
      </a:lt2>
      <a:accent1>
        <a:srgbClr val="002C5C"/>
      </a:accent1>
      <a:accent2>
        <a:srgbClr val="00AAE6"/>
      </a:accent2>
      <a:accent3>
        <a:srgbClr val="5A1E64"/>
      </a:accent3>
      <a:accent4>
        <a:srgbClr val="C80082"/>
      </a:accent4>
      <a:accent5>
        <a:srgbClr val="69AF28"/>
      </a:accent5>
      <a:accent6>
        <a:srgbClr val="FF6E00"/>
      </a:accent6>
      <a:hlink>
        <a:srgbClr val="000000"/>
      </a:hlink>
      <a:folHlink>
        <a:srgbClr val="249CCC"/>
      </a:folHlink>
    </a:clrScheme>
    <a:fontScheme name="Mars Inc.">
      <a:majorFont>
        <a:latin typeface="Marsfont"/>
        <a:ea typeface=""/>
        <a:cs typeface=""/>
      </a:majorFont>
      <a:minorFont>
        <a:latin typeface="Marsfont"/>
        <a:ea typeface=""/>
        <a:cs typeface="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>
    <a:spDef>
      <a:spPr/>
      <a:bodyPr wrap="square">
        <a:spAutoFit/>
      </a:bodyPr>
      <a:lstStyle>
        <a:defPPr algn="ctr">
          <a:lnSpc>
            <a:spcPct val="80000"/>
          </a:lnSpc>
          <a:defRPr dirty="0">
            <a:latin typeface="Calibri" panose="020F0502020204030204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NEW MINC 16x9 template_final.pptx" id="{2BAF0608-E3E6-42FB-A8A4-8DB3AD7B7C3C}" vid="{8B6F6C99-60BF-4E1B-94C8-9C6F34C6EEB6}"/>
    </a:ext>
  </a:extLst>
</a:theme>
</file>

<file path=ppt/theme/theme4.xml><?xml version="1.0" encoding="utf-8"?>
<a:theme xmlns:a="http://schemas.openxmlformats.org/drawingml/2006/main" name="9_Mars_Template_WaterMark_Internal 2012-080712-CCv2">
  <a:themeElements>
    <a:clrScheme name="Custom 26">
      <a:dk1>
        <a:srgbClr val="000000"/>
      </a:dk1>
      <a:lt1>
        <a:srgbClr val="FFFFFF"/>
      </a:lt1>
      <a:dk2>
        <a:srgbClr val="BED700"/>
      </a:dk2>
      <a:lt2>
        <a:srgbClr val="C81E2D"/>
      </a:lt2>
      <a:accent1>
        <a:srgbClr val="002C5C"/>
      </a:accent1>
      <a:accent2>
        <a:srgbClr val="00AAE6"/>
      </a:accent2>
      <a:accent3>
        <a:srgbClr val="5A1E64"/>
      </a:accent3>
      <a:accent4>
        <a:srgbClr val="C80082"/>
      </a:accent4>
      <a:accent5>
        <a:srgbClr val="69AF28"/>
      </a:accent5>
      <a:accent6>
        <a:srgbClr val="FF6E00"/>
      </a:accent6>
      <a:hlink>
        <a:srgbClr val="000000"/>
      </a:hlink>
      <a:folHlink>
        <a:srgbClr val="249CCC"/>
      </a:folHlink>
    </a:clrScheme>
    <a:fontScheme name="Mars Inc.">
      <a:majorFont>
        <a:latin typeface="Marsfont"/>
        <a:ea typeface=""/>
        <a:cs typeface=""/>
      </a:majorFont>
      <a:minorFont>
        <a:latin typeface="Marsfont"/>
        <a:ea typeface=""/>
        <a:cs typeface="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>
    <a:spDef>
      <a:spPr/>
      <a:bodyPr wrap="square">
        <a:spAutoFit/>
      </a:bodyPr>
      <a:lstStyle>
        <a:defPPr algn="ctr">
          <a:lnSpc>
            <a:spcPct val="80000"/>
          </a:lnSpc>
          <a:defRPr dirty="0">
            <a:latin typeface="Calibri" panose="020F0502020204030204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NEW MINC 16x9 template_final.pptx" id="{2BAF0608-E3E6-42FB-A8A4-8DB3AD7B7C3C}" vid="{4208FA56-C162-4ED7-806D-C7757882F844}"/>
    </a:ext>
  </a:extLst>
</a:theme>
</file>

<file path=ppt/theme/theme5.xml><?xml version="1.0" encoding="utf-8"?>
<a:theme xmlns:a="http://schemas.openxmlformats.org/drawingml/2006/main" name="8_Mars_Template_WaterMark_Internal 2012-080712-CCv2">
  <a:themeElements>
    <a:clrScheme name="Custom 26">
      <a:dk1>
        <a:srgbClr val="000000"/>
      </a:dk1>
      <a:lt1>
        <a:srgbClr val="FFFFFF"/>
      </a:lt1>
      <a:dk2>
        <a:srgbClr val="BED700"/>
      </a:dk2>
      <a:lt2>
        <a:srgbClr val="C81E2D"/>
      </a:lt2>
      <a:accent1>
        <a:srgbClr val="002C5C"/>
      </a:accent1>
      <a:accent2>
        <a:srgbClr val="00AAE6"/>
      </a:accent2>
      <a:accent3>
        <a:srgbClr val="5A1E64"/>
      </a:accent3>
      <a:accent4>
        <a:srgbClr val="C80082"/>
      </a:accent4>
      <a:accent5>
        <a:srgbClr val="69AF28"/>
      </a:accent5>
      <a:accent6>
        <a:srgbClr val="FF6E00"/>
      </a:accent6>
      <a:hlink>
        <a:srgbClr val="000000"/>
      </a:hlink>
      <a:folHlink>
        <a:srgbClr val="249CCC"/>
      </a:folHlink>
    </a:clrScheme>
    <a:fontScheme name="Mars Inc.">
      <a:majorFont>
        <a:latin typeface="Marsfont"/>
        <a:ea typeface=""/>
        <a:cs typeface=""/>
      </a:majorFont>
      <a:minorFont>
        <a:latin typeface="Marsfont"/>
        <a:ea typeface=""/>
        <a:cs typeface="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>
    <a:spDef>
      <a:spPr/>
      <a:bodyPr wrap="square">
        <a:spAutoFit/>
      </a:bodyPr>
      <a:lstStyle>
        <a:defPPr algn="ctr">
          <a:lnSpc>
            <a:spcPct val="80000"/>
          </a:lnSpc>
          <a:defRPr dirty="0">
            <a:latin typeface="Calibri" panose="020F0502020204030204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NEW MINC 16x9 template_final.pptx" id="{2BAF0608-E3E6-42FB-A8A4-8DB3AD7B7C3C}" vid="{6C0F2F8B-B8AA-42F0-9A6F-C4C2503186F4}"/>
    </a:ext>
  </a:extLst>
</a:theme>
</file>

<file path=ppt/theme/theme6.xml><?xml version="1.0" encoding="utf-8"?>
<a:theme xmlns:a="http://schemas.openxmlformats.org/drawingml/2006/main" name="11_Mars_Template_WaterMark_Internal 2012-080712-CCv2">
  <a:themeElements>
    <a:clrScheme name="Custom 26">
      <a:dk1>
        <a:srgbClr val="000000"/>
      </a:dk1>
      <a:lt1>
        <a:srgbClr val="FFFFFF"/>
      </a:lt1>
      <a:dk2>
        <a:srgbClr val="BED700"/>
      </a:dk2>
      <a:lt2>
        <a:srgbClr val="C81E2D"/>
      </a:lt2>
      <a:accent1>
        <a:srgbClr val="002C5C"/>
      </a:accent1>
      <a:accent2>
        <a:srgbClr val="00AAE6"/>
      </a:accent2>
      <a:accent3>
        <a:srgbClr val="5A1E64"/>
      </a:accent3>
      <a:accent4>
        <a:srgbClr val="C80082"/>
      </a:accent4>
      <a:accent5>
        <a:srgbClr val="69AF28"/>
      </a:accent5>
      <a:accent6>
        <a:srgbClr val="FF6E00"/>
      </a:accent6>
      <a:hlink>
        <a:srgbClr val="000000"/>
      </a:hlink>
      <a:folHlink>
        <a:srgbClr val="249CCC"/>
      </a:folHlink>
    </a:clrScheme>
    <a:fontScheme name="Mars Inc.">
      <a:majorFont>
        <a:latin typeface="Marsfont"/>
        <a:ea typeface=""/>
        <a:cs typeface=""/>
      </a:majorFont>
      <a:minorFont>
        <a:latin typeface="Marsfont"/>
        <a:ea typeface=""/>
        <a:cs typeface="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>
    <a:spDef>
      <a:spPr/>
      <a:bodyPr wrap="square">
        <a:spAutoFit/>
      </a:bodyPr>
      <a:lstStyle>
        <a:defPPr algn="ctr">
          <a:lnSpc>
            <a:spcPct val="80000"/>
          </a:lnSpc>
          <a:defRPr dirty="0">
            <a:latin typeface="Calibri" panose="020F0502020204030204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NEW MINC 16x9 template_final.pptx" id="{2BAF0608-E3E6-42FB-A8A4-8DB3AD7B7C3C}" vid="{D7396624-89F4-48B0-9FAE-0D75D426C200}"/>
    </a:ext>
  </a:extLst>
</a:theme>
</file>

<file path=ppt/theme/theme7.xml><?xml version="1.0" encoding="utf-8"?>
<a:theme xmlns:a="http://schemas.openxmlformats.org/drawingml/2006/main" name="1_Custom Design">
  <a:themeElements>
    <a:clrScheme name="0_New theme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237DB9"/>
      </a:accent1>
      <a:accent2>
        <a:srgbClr val="15AA96"/>
      </a:accent2>
      <a:accent3>
        <a:srgbClr val="9BB955"/>
      </a:accent3>
      <a:accent4>
        <a:srgbClr val="F19B14"/>
      </a:accent4>
      <a:accent5>
        <a:srgbClr val="BE382C"/>
      </a:accent5>
      <a:accent6>
        <a:srgbClr val="633247"/>
      </a:accent6>
      <a:hlink>
        <a:srgbClr val="FFFFFF"/>
      </a:hlink>
      <a:folHlink>
        <a:srgbClr val="595959"/>
      </a:folHlink>
    </a:clrScheme>
    <a:fontScheme name="Roboto">
      <a:majorFont>
        <a:latin typeface="Roboto Medium"/>
        <a:ea typeface=""/>
        <a:cs typeface="FontAwesome"/>
      </a:majorFont>
      <a:minorFont>
        <a:latin typeface="Roboto Condensed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>
          <a:noFill/>
          <a:round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</a:objectDefaults>
  <a:extraClrSchemeLst/>
</a:theme>
</file>

<file path=ppt/theme/theme8.xml><?xml version="1.0" encoding="utf-8"?>
<a:theme xmlns:a="http://schemas.openxmlformats.org/drawingml/2006/main" name="6_KIND theme">
  <a:themeElements>
    <a:clrScheme name="KIND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AB00"/>
      </a:accent1>
      <a:accent2>
        <a:srgbClr val="EE351A"/>
      </a:accent2>
      <a:accent3>
        <a:srgbClr val="A8B400"/>
      </a:accent3>
      <a:accent4>
        <a:srgbClr val="5EB6E4"/>
      </a:accent4>
      <a:accent5>
        <a:srgbClr val="EAAB00"/>
      </a:accent5>
      <a:accent6>
        <a:srgbClr val="EE351A"/>
      </a:accent6>
      <a:hlink>
        <a:srgbClr val="EAAB00"/>
      </a:hlink>
      <a:folHlink>
        <a:srgbClr val="EAAB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KIND theme" id="{BC949082-C1FF-4937-932F-FA011B7E89FD}" vid="{10DEA8C4-3DAA-4ACC-82DC-91A0ABC33A12}"/>
    </a:ext>
  </a:extLst>
</a:theme>
</file>

<file path=ppt/theme/theme9.xml><?xml version="1.0" encoding="utf-8"?>
<a:theme xmlns:a="http://schemas.openxmlformats.org/drawingml/2006/main" name="13_Mars_Template_WaterMark_Internal 2012-080712-CCv2">
  <a:themeElements>
    <a:clrScheme name="Custom 26">
      <a:dk1>
        <a:srgbClr val="000000"/>
      </a:dk1>
      <a:lt1>
        <a:srgbClr val="FFFFFF"/>
      </a:lt1>
      <a:dk2>
        <a:srgbClr val="BED700"/>
      </a:dk2>
      <a:lt2>
        <a:srgbClr val="C81E2D"/>
      </a:lt2>
      <a:accent1>
        <a:srgbClr val="002C5C"/>
      </a:accent1>
      <a:accent2>
        <a:srgbClr val="00AAE6"/>
      </a:accent2>
      <a:accent3>
        <a:srgbClr val="5A1E64"/>
      </a:accent3>
      <a:accent4>
        <a:srgbClr val="C80082"/>
      </a:accent4>
      <a:accent5>
        <a:srgbClr val="69AF28"/>
      </a:accent5>
      <a:accent6>
        <a:srgbClr val="FF6E00"/>
      </a:accent6>
      <a:hlink>
        <a:srgbClr val="000000"/>
      </a:hlink>
      <a:folHlink>
        <a:srgbClr val="249CCC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>
    <a:spDef>
      <a:spPr/>
      <a:bodyPr wrap="square">
        <a:spAutoFit/>
      </a:bodyPr>
      <a:lstStyle>
        <a:defPPr algn="ctr">
          <a:lnSpc>
            <a:spcPct val="80000"/>
          </a:lnSpc>
          <a:defRPr dirty="0">
            <a:latin typeface="Calibri" panose="020F0502020204030204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Presentation1" id="{E8F6D4A8-F474-428C-8287-3FB773BAED4A}" vid="{4313D244-B52C-4610-A331-237824760BBB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3867935-9751-4FAE-83B0-6FDE43DA7E82}">
  <we:reference id="wa104038830" version="1.0.0.3" store="en-US" storeType="OMEX"/>
  <we:alternateReferences>
    <we:reference id="wa104038830" version="1.0.0.3" store="wa104038830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238261E73C88439BB98AF91E7C8BB9" ma:contentTypeVersion="12" ma:contentTypeDescription="Create a new document." ma:contentTypeScope="" ma:versionID="ce24275585ad6faa1994631f599f0ad0">
  <xsd:schema xmlns:xsd="http://www.w3.org/2001/XMLSchema" xmlns:xs="http://www.w3.org/2001/XMLSchema" xmlns:p="http://schemas.microsoft.com/office/2006/metadata/properties" xmlns:ns2="df96cac6-5edc-4d96-a14f-21dec8cebb64" xmlns:ns3="e6f9aa0a-a4db-4c69-b1fa-f7c559ce6762" targetNamespace="http://schemas.microsoft.com/office/2006/metadata/properties" ma:root="true" ma:fieldsID="e48c4e51891a7ad7a9848e84a11e2199" ns2:_="" ns3:_="">
    <xsd:import namespace="df96cac6-5edc-4d96-a14f-21dec8cebb64"/>
    <xsd:import namespace="e6f9aa0a-a4db-4c69-b1fa-f7c559ce67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96cac6-5edc-4d96-a14f-21dec8cebb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f9aa0a-a4db-4c69-b1fa-f7c559ce6762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01AC2E2-AAD4-489A-9D23-79A61BED455C}"/>
</file>

<file path=customXml/itemProps2.xml><?xml version="1.0" encoding="utf-8"?>
<ds:datastoreItem xmlns:ds="http://schemas.openxmlformats.org/officeDocument/2006/customXml" ds:itemID="{A511CDA2-C26B-4F1E-A80B-1B70D8FFA69B}">
  <ds:schemaRefs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e6f9aa0a-a4db-4c69-b1fa-f7c559ce6762"/>
    <ds:schemaRef ds:uri="http://purl.org/dc/terms/"/>
    <ds:schemaRef ds:uri="http://schemas.microsoft.com/office/infopath/2007/PartnerControls"/>
    <ds:schemaRef ds:uri="df96cac6-5edc-4d96-a14f-21dec8cebb64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04F9874-03EE-4CFA-8F36-20C13BEFED4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rs Inc Global 16x9</Template>
  <TotalTime>5611</TotalTime>
  <Words>1102</Words>
  <Application>Microsoft Office PowerPoint</Application>
  <PresentationFormat>On-screen Show (16:9)</PresentationFormat>
  <Paragraphs>252</Paragraphs>
  <Slides>22</Slides>
  <Notes>6</Notes>
  <HiddenSlides>2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43" baseType="lpstr">
      <vt:lpstr>Arial</vt:lpstr>
      <vt:lpstr>Calibri</vt:lpstr>
      <vt:lpstr>Century Gothic</vt:lpstr>
      <vt:lpstr>FontAwesome</vt:lpstr>
      <vt:lpstr>Georgia</vt:lpstr>
      <vt:lpstr>Helvetica</vt:lpstr>
      <vt:lpstr>Marsfont</vt:lpstr>
      <vt:lpstr>Roboto Condensed</vt:lpstr>
      <vt:lpstr>Roboto Medium</vt:lpstr>
      <vt:lpstr>Verdana</vt:lpstr>
      <vt:lpstr>Wingdings</vt:lpstr>
      <vt:lpstr>7_Mars_Template_WaterMark_Internal 2012-080712-CCv2</vt:lpstr>
      <vt:lpstr>12_Mars_Template_WaterMark_Internal 2012-080712-CCv2</vt:lpstr>
      <vt:lpstr>10_Mars_Template_WaterMark_Internal 2012-080712-CCv2</vt:lpstr>
      <vt:lpstr>9_Mars_Template_WaterMark_Internal 2012-080712-CCv2</vt:lpstr>
      <vt:lpstr>8_Mars_Template_WaterMark_Internal 2012-080712-CCv2</vt:lpstr>
      <vt:lpstr>11_Mars_Template_WaterMark_Internal 2012-080712-CCv2</vt:lpstr>
      <vt:lpstr>1_Custom Design</vt:lpstr>
      <vt:lpstr>6_KIND theme</vt:lpstr>
      <vt:lpstr>13_Mars_Template_WaterMark_Internal 2012-080712-CCv2</vt:lpstr>
      <vt:lpstr>think-cell Slide</vt:lpstr>
      <vt:lpstr>KIND 360 – Engagement Story </vt:lpstr>
      <vt:lpstr>Agenda</vt:lpstr>
      <vt:lpstr>PowerPoint Presentation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</vt:lpstr>
      <vt:lpstr>We successfully piloted an activation effectiveness exercise to identify the most significant drivers/activations of sales and quantify their impact</vt:lpstr>
      <vt:lpstr>Data Quality Management An unified quality and error detection tool</vt:lpstr>
      <vt:lpstr>Raw data input is checked for standard format and necessary columns before processing</vt:lpstr>
      <vt:lpstr>An anomaly detection framework is designed to check data on business sense and heuristics</vt:lpstr>
      <vt:lpstr>Dynamic identification of new data points helps to track, optimize the solutions and reduces time effort.</vt:lpstr>
      <vt:lpstr>Comparison of aggregated metrics at different levels helps to identify any discrepancy in the data</vt:lpstr>
      <vt:lpstr>Appendix</vt:lpstr>
      <vt:lpstr>PowerPoint Presentation</vt:lpstr>
      <vt:lpstr>PowerPoint Presentation</vt:lpstr>
      <vt:lpstr>Thank You </vt:lpstr>
    </vt:vector>
  </TitlesOfParts>
  <Company>Mars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S Estimator Project -RFP</dc:title>
  <dc:creator>Martinez Davila, Luis</dc:creator>
  <cp:lastModifiedBy>Mohit Dhamecha</cp:lastModifiedBy>
  <cp:revision>154</cp:revision>
  <dcterms:created xsi:type="dcterms:W3CDTF">2018-03-15T08:35:15Z</dcterms:created>
  <dcterms:modified xsi:type="dcterms:W3CDTF">2020-06-12T15:4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238261E73C88439BB98AF91E7C8BB9</vt:lpwstr>
  </property>
  <property fmtid="{D5CDD505-2E9C-101B-9397-08002B2CF9AE}" pid="3" name="AuthorIds_UIVersion_4096">
    <vt:lpwstr>59</vt:lpwstr>
  </property>
  <property fmtid="{D5CDD505-2E9C-101B-9397-08002B2CF9AE}" pid="4" name="AuthorIds_UIVersion_6656">
    <vt:lpwstr>59</vt:lpwstr>
  </property>
</Properties>
</file>